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slideLayouts/slideLayout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741" r:id="rId5"/>
    <p:sldMasterId id="2147483735" r:id="rId6"/>
    <p:sldMasterId id="2147483737" r:id="rId7"/>
    <p:sldMasterId id="2147483739" r:id="rId8"/>
  </p:sldMasterIdLst>
  <p:notesMasterIdLst>
    <p:notesMasterId r:id="rId10"/>
  </p:notesMasterIdLst>
  <p:handoutMasterIdLst>
    <p:handoutMasterId r:id="rId11"/>
  </p:handoutMasterIdLst>
  <p:sldIdLst>
    <p:sldId id="571" r:id="rId9"/>
  </p:sldIdLst>
  <p:sldSz cx="12192000" cy="6858000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596B"/>
    <a:srgbClr val="33CC33"/>
    <a:srgbClr val="00C37B"/>
    <a:srgbClr val="00B0E3"/>
    <a:srgbClr val="95E616"/>
    <a:srgbClr val="01D1D0"/>
    <a:srgbClr val="88D5ED"/>
    <a:srgbClr val="CB2980"/>
    <a:srgbClr val="C8FF16"/>
    <a:srgbClr val="FF7E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42F5FBA-54A3-4F6A-8EF1-2E05EADE12CB}" v="91" dt="2020-01-07T14:53:44.39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5" d="100"/>
          <a:sy n="85" d="100"/>
        </p:scale>
        <p:origin x="744" y="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noir, Marc" userId="S::marc.lenoir@capgemini.com::fa9e80f1-309d-4401-b816-85836dfec125" providerId="AD" clId="Web-{3FED2E1C-2CDE-4814-B8ED-39D29D683317}"/>
    <pc:docChg chg="modSld">
      <pc:chgData name="Lenoir, Marc" userId="S::marc.lenoir@capgemini.com::fa9e80f1-309d-4401-b816-85836dfec125" providerId="AD" clId="Web-{3FED2E1C-2CDE-4814-B8ED-39D29D683317}" dt="2019-12-17T10:48:49.512" v="22" actId="1076"/>
      <pc:docMkLst>
        <pc:docMk/>
      </pc:docMkLst>
      <pc:sldChg chg="modSp">
        <pc:chgData name="Lenoir, Marc" userId="S::marc.lenoir@capgemini.com::fa9e80f1-309d-4401-b816-85836dfec125" providerId="AD" clId="Web-{3FED2E1C-2CDE-4814-B8ED-39D29D683317}" dt="2019-12-17T10:47:59.012" v="16" actId="20577"/>
        <pc:sldMkLst>
          <pc:docMk/>
          <pc:sldMk cId="2291983689" sldId="568"/>
        </pc:sldMkLst>
        <pc:spChg chg="mod">
          <ac:chgData name="Lenoir, Marc" userId="S::marc.lenoir@capgemini.com::fa9e80f1-309d-4401-b816-85836dfec125" providerId="AD" clId="Web-{3FED2E1C-2CDE-4814-B8ED-39D29D683317}" dt="2019-12-17T10:47:59.012" v="16" actId="20577"/>
          <ac:spMkLst>
            <pc:docMk/>
            <pc:sldMk cId="2291983689" sldId="568"/>
            <ac:spMk id="77" creationId="{9C609CD1-37D6-4D9E-8134-59C3C9EC8AC7}"/>
          </ac:spMkLst>
        </pc:spChg>
      </pc:sldChg>
      <pc:sldChg chg="modSp">
        <pc:chgData name="Lenoir, Marc" userId="S::marc.lenoir@capgemini.com::fa9e80f1-309d-4401-b816-85836dfec125" providerId="AD" clId="Web-{3FED2E1C-2CDE-4814-B8ED-39D29D683317}" dt="2019-12-17T10:48:38.043" v="20" actId="1076"/>
        <pc:sldMkLst>
          <pc:docMk/>
          <pc:sldMk cId="1221265270" sldId="569"/>
        </pc:sldMkLst>
        <pc:spChg chg="mod">
          <ac:chgData name="Lenoir, Marc" userId="S::marc.lenoir@capgemini.com::fa9e80f1-309d-4401-b816-85836dfec125" providerId="AD" clId="Web-{3FED2E1C-2CDE-4814-B8ED-39D29D683317}" dt="2019-12-17T10:48:33.840" v="19" actId="1076"/>
          <ac:spMkLst>
            <pc:docMk/>
            <pc:sldMk cId="1221265270" sldId="569"/>
            <ac:spMk id="75" creationId="{915E63AC-D72B-4CDA-8B49-80CD263B5154}"/>
          </ac:spMkLst>
        </pc:spChg>
        <pc:spChg chg="mod">
          <ac:chgData name="Lenoir, Marc" userId="S::marc.lenoir@capgemini.com::fa9e80f1-309d-4401-b816-85836dfec125" providerId="AD" clId="Web-{3FED2E1C-2CDE-4814-B8ED-39D29D683317}" dt="2019-12-17T10:48:38.043" v="20" actId="1076"/>
          <ac:spMkLst>
            <pc:docMk/>
            <pc:sldMk cId="1221265270" sldId="569"/>
            <ac:spMk id="77" creationId="{9C609CD1-37D6-4D9E-8134-59C3C9EC8AC7}"/>
          </ac:spMkLst>
        </pc:spChg>
      </pc:sldChg>
      <pc:sldChg chg="modSp">
        <pc:chgData name="Lenoir, Marc" userId="S::marc.lenoir@capgemini.com::fa9e80f1-309d-4401-b816-85836dfec125" providerId="AD" clId="Web-{3FED2E1C-2CDE-4814-B8ED-39D29D683317}" dt="2019-12-17T10:48:49.512" v="22" actId="1076"/>
        <pc:sldMkLst>
          <pc:docMk/>
          <pc:sldMk cId="1651073673" sldId="571"/>
        </pc:sldMkLst>
        <pc:spChg chg="mod">
          <ac:chgData name="Lenoir, Marc" userId="S::marc.lenoir@capgemini.com::fa9e80f1-309d-4401-b816-85836dfec125" providerId="AD" clId="Web-{3FED2E1C-2CDE-4814-B8ED-39D29D683317}" dt="2019-12-17T10:48:44.403" v="21" actId="1076"/>
          <ac:spMkLst>
            <pc:docMk/>
            <pc:sldMk cId="1651073673" sldId="571"/>
            <ac:spMk id="75" creationId="{915E63AC-D72B-4CDA-8B49-80CD263B5154}"/>
          </ac:spMkLst>
        </pc:spChg>
        <pc:spChg chg="mod">
          <ac:chgData name="Lenoir, Marc" userId="S::marc.lenoir@capgemini.com::fa9e80f1-309d-4401-b816-85836dfec125" providerId="AD" clId="Web-{3FED2E1C-2CDE-4814-B8ED-39D29D683317}" dt="2019-12-17T10:48:49.512" v="22" actId="1076"/>
          <ac:spMkLst>
            <pc:docMk/>
            <pc:sldMk cId="1651073673" sldId="571"/>
            <ac:spMk id="77" creationId="{9C609CD1-37D6-4D9E-8134-59C3C9EC8AC7}"/>
          </ac:spMkLst>
        </pc:spChg>
      </pc:sldChg>
      <pc:sldChg chg="modSp">
        <pc:chgData name="Lenoir, Marc" userId="S::marc.lenoir@capgemini.com::fa9e80f1-309d-4401-b816-85836dfec125" providerId="AD" clId="Web-{3FED2E1C-2CDE-4814-B8ED-39D29D683317}" dt="2019-12-17T10:48:11.340" v="17" actId="1076"/>
        <pc:sldMkLst>
          <pc:docMk/>
          <pc:sldMk cId="216923696" sldId="572"/>
        </pc:sldMkLst>
        <pc:spChg chg="mod">
          <ac:chgData name="Lenoir, Marc" userId="S::marc.lenoir@capgemini.com::fa9e80f1-309d-4401-b816-85836dfec125" providerId="AD" clId="Web-{3FED2E1C-2CDE-4814-B8ED-39D29D683317}" dt="2019-12-17T10:48:11.340" v="17" actId="1076"/>
          <ac:spMkLst>
            <pc:docMk/>
            <pc:sldMk cId="216923696" sldId="572"/>
            <ac:spMk id="57" creationId="{77B9979F-7B4F-4F53-AAB7-A9B779AD87E1}"/>
          </ac:spMkLst>
        </pc:spChg>
      </pc:sldChg>
      <pc:sldChg chg="modSp">
        <pc:chgData name="Lenoir, Marc" userId="S::marc.lenoir@capgemini.com::fa9e80f1-309d-4401-b816-85836dfec125" providerId="AD" clId="Web-{3FED2E1C-2CDE-4814-B8ED-39D29D683317}" dt="2019-12-17T10:48:17.543" v="18" actId="1076"/>
        <pc:sldMkLst>
          <pc:docMk/>
          <pc:sldMk cId="4125081957" sldId="573"/>
        </pc:sldMkLst>
        <pc:spChg chg="mod">
          <ac:chgData name="Lenoir, Marc" userId="S::marc.lenoir@capgemini.com::fa9e80f1-309d-4401-b816-85836dfec125" providerId="AD" clId="Web-{3FED2E1C-2CDE-4814-B8ED-39D29D683317}" dt="2019-12-17T10:48:17.543" v="18" actId="1076"/>
          <ac:spMkLst>
            <pc:docMk/>
            <pc:sldMk cId="4125081957" sldId="573"/>
            <ac:spMk id="57" creationId="{77B9979F-7B4F-4F53-AAB7-A9B779AD87E1}"/>
          </ac:spMkLst>
        </pc:spChg>
      </pc:sldChg>
    </pc:docChg>
  </pc:docChgLst>
  <pc:docChgLst>
    <pc:chgData name="Lenoir, Marc" userId="S::marc.lenoir@capgemini.com::fa9e80f1-309d-4401-b816-85836dfec125" providerId="AD" clId="Web-{7624D510-C51F-4B31-A6E8-8151EA985453}"/>
    <pc:docChg chg="modSld">
      <pc:chgData name="Lenoir, Marc" userId="S::marc.lenoir@capgemini.com::fa9e80f1-309d-4401-b816-85836dfec125" providerId="AD" clId="Web-{7624D510-C51F-4B31-A6E8-8151EA985453}" dt="2019-12-17T10:35:53.028" v="17"/>
      <pc:docMkLst>
        <pc:docMk/>
      </pc:docMkLst>
      <pc:sldChg chg="delSp">
        <pc:chgData name="Lenoir, Marc" userId="S::marc.lenoir@capgemini.com::fa9e80f1-309d-4401-b816-85836dfec125" providerId="AD" clId="Web-{7624D510-C51F-4B31-A6E8-8151EA985453}" dt="2019-12-17T10:35:42.575" v="12"/>
        <pc:sldMkLst>
          <pc:docMk/>
          <pc:sldMk cId="2291983689" sldId="568"/>
        </pc:sldMkLst>
        <pc:picChg chg="del">
          <ac:chgData name="Lenoir, Marc" userId="S::marc.lenoir@capgemini.com::fa9e80f1-309d-4401-b816-85836dfec125" providerId="AD" clId="Web-{7624D510-C51F-4B31-A6E8-8151EA985453}" dt="2019-12-17T10:35:42.575" v="12"/>
          <ac:picMkLst>
            <pc:docMk/>
            <pc:sldMk cId="2291983689" sldId="568"/>
            <ac:picMk id="61" creationId="{1CF2C00C-DB96-41B9-8177-17F42D62298A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41.841" v="11"/>
          <ac:picMkLst>
            <pc:docMk/>
            <pc:sldMk cId="2291983689" sldId="568"/>
            <ac:picMk id="62" creationId="{4280DBF4-D6B2-4FF0-8C48-939F5341DB16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40.794" v="10"/>
          <ac:picMkLst>
            <pc:docMk/>
            <pc:sldMk cId="2291983689" sldId="568"/>
            <ac:picMk id="63" creationId="{4D9C641D-1973-4F6B-B577-24847300206C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39.763" v="9"/>
          <ac:picMkLst>
            <pc:docMk/>
            <pc:sldMk cId="2291983689" sldId="568"/>
            <ac:picMk id="64" creationId="{BECE2216-AACE-4165-9322-3FBA95B6E1BF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38.544" v="8"/>
          <ac:picMkLst>
            <pc:docMk/>
            <pc:sldMk cId="2291983689" sldId="568"/>
            <ac:picMk id="66" creationId="{767E6A89-1CAC-464F-9F5C-A08B997A754D}"/>
          </ac:picMkLst>
        </pc:picChg>
      </pc:sldChg>
      <pc:sldChg chg="delSp modSp">
        <pc:chgData name="Lenoir, Marc" userId="S::marc.lenoir@capgemini.com::fa9e80f1-309d-4401-b816-85836dfec125" providerId="AD" clId="Web-{7624D510-C51F-4B31-A6E8-8151EA985453}" dt="2019-12-17T10:35:06.778" v="7"/>
        <pc:sldMkLst>
          <pc:docMk/>
          <pc:sldMk cId="1651073673" sldId="571"/>
        </pc:sldMkLst>
        <pc:spChg chg="mod">
          <ac:chgData name="Lenoir, Marc" userId="S::marc.lenoir@capgemini.com::fa9e80f1-309d-4401-b816-85836dfec125" providerId="AD" clId="Web-{7624D510-C51F-4B31-A6E8-8151EA985453}" dt="2019-12-17T10:34:46.544" v="2" actId="14100"/>
          <ac:spMkLst>
            <pc:docMk/>
            <pc:sldMk cId="1651073673" sldId="571"/>
            <ac:spMk id="57" creationId="{9D98E087-BAD9-445F-8CA1-D524C7F51083}"/>
          </ac:spMkLst>
        </pc:spChg>
        <pc:picChg chg="del">
          <ac:chgData name="Lenoir, Marc" userId="S::marc.lenoir@capgemini.com::fa9e80f1-309d-4401-b816-85836dfec125" providerId="AD" clId="Web-{7624D510-C51F-4B31-A6E8-8151EA985453}" dt="2019-12-17T10:35:06.778" v="7"/>
          <ac:picMkLst>
            <pc:docMk/>
            <pc:sldMk cId="1651073673" sldId="571"/>
            <ac:picMk id="100" creationId="{845EDC64-3244-427D-94B9-A48FFC48134E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05.591" v="6"/>
          <ac:picMkLst>
            <pc:docMk/>
            <pc:sldMk cId="1651073673" sldId="571"/>
            <ac:picMk id="101" creationId="{80E6B482-893C-470D-932C-D1F9E7332D1B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04.731" v="5"/>
          <ac:picMkLst>
            <pc:docMk/>
            <pc:sldMk cId="1651073673" sldId="571"/>
            <ac:picMk id="102" creationId="{18D77C52-DE26-41D0-A6CB-2DE3CCF55CDB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03.903" v="4"/>
          <ac:picMkLst>
            <pc:docMk/>
            <pc:sldMk cId="1651073673" sldId="571"/>
            <ac:picMk id="103" creationId="{5F07F4DA-FB91-42CC-A199-BA8947337781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02.294" v="3"/>
          <ac:picMkLst>
            <pc:docMk/>
            <pc:sldMk cId="1651073673" sldId="571"/>
            <ac:picMk id="104" creationId="{F85C871D-68E0-4035-B109-78A0ECDCC0A2}"/>
          </ac:picMkLst>
        </pc:picChg>
      </pc:sldChg>
      <pc:sldChg chg="delSp modSp">
        <pc:chgData name="Lenoir, Marc" userId="S::marc.lenoir@capgemini.com::fa9e80f1-309d-4401-b816-85836dfec125" providerId="AD" clId="Web-{7624D510-C51F-4B31-A6E8-8151EA985453}" dt="2019-12-17T10:35:53.028" v="17"/>
        <pc:sldMkLst>
          <pc:docMk/>
          <pc:sldMk cId="216923696" sldId="572"/>
        </pc:sldMkLst>
        <pc:spChg chg="mod">
          <ac:chgData name="Lenoir, Marc" userId="S::marc.lenoir@capgemini.com::fa9e80f1-309d-4401-b816-85836dfec125" providerId="AD" clId="Web-{7624D510-C51F-4B31-A6E8-8151EA985453}" dt="2019-12-17T10:34:26.856" v="1" actId="14100"/>
          <ac:spMkLst>
            <pc:docMk/>
            <pc:sldMk cId="216923696" sldId="572"/>
            <ac:spMk id="78" creationId="{52030450-2308-4126-A29F-3356083DD3E5}"/>
          </ac:spMkLst>
        </pc:spChg>
        <pc:picChg chg="del">
          <ac:chgData name="Lenoir, Marc" userId="S::marc.lenoir@capgemini.com::fa9e80f1-309d-4401-b816-85836dfec125" providerId="AD" clId="Web-{7624D510-C51F-4B31-A6E8-8151EA985453}" dt="2019-12-17T10:35:53.028" v="17"/>
          <ac:picMkLst>
            <pc:docMk/>
            <pc:sldMk cId="216923696" sldId="572"/>
            <ac:picMk id="61" creationId="{1CF2C00C-DB96-41B9-8177-17F42D62298A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51.856" v="16"/>
          <ac:picMkLst>
            <pc:docMk/>
            <pc:sldMk cId="216923696" sldId="572"/>
            <ac:picMk id="62" creationId="{4280DBF4-D6B2-4FF0-8C48-939F5341DB16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50.825" v="15"/>
          <ac:picMkLst>
            <pc:docMk/>
            <pc:sldMk cId="216923696" sldId="572"/>
            <ac:picMk id="63" creationId="{4D9C641D-1973-4F6B-B577-24847300206C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50.044" v="14"/>
          <ac:picMkLst>
            <pc:docMk/>
            <pc:sldMk cId="216923696" sldId="572"/>
            <ac:picMk id="64" creationId="{BECE2216-AACE-4165-9322-3FBA95B6E1BF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48.934" v="13"/>
          <ac:picMkLst>
            <pc:docMk/>
            <pc:sldMk cId="216923696" sldId="572"/>
            <ac:picMk id="66" creationId="{767E6A89-1CAC-464F-9F5C-A08B997A754D}"/>
          </ac:picMkLst>
        </pc:picChg>
      </pc:sldChg>
      <pc:sldChg chg="modSp">
        <pc:chgData name="Lenoir, Marc" userId="S::marc.lenoir@capgemini.com::fa9e80f1-309d-4401-b816-85836dfec125" providerId="AD" clId="Web-{7624D510-C51F-4B31-A6E8-8151EA985453}" dt="2019-12-17T10:34:15.200" v="0" actId="14100"/>
        <pc:sldMkLst>
          <pc:docMk/>
          <pc:sldMk cId="4125081957" sldId="573"/>
        </pc:sldMkLst>
        <pc:spChg chg="mod">
          <ac:chgData name="Lenoir, Marc" userId="S::marc.lenoir@capgemini.com::fa9e80f1-309d-4401-b816-85836dfec125" providerId="AD" clId="Web-{7624D510-C51F-4B31-A6E8-8151EA985453}" dt="2019-12-17T10:34:15.200" v="0" actId="14100"/>
          <ac:spMkLst>
            <pc:docMk/>
            <pc:sldMk cId="4125081957" sldId="573"/>
            <ac:spMk id="78" creationId="{52030450-2308-4126-A29F-3356083DD3E5}"/>
          </ac:spMkLst>
        </pc:spChg>
      </pc:sldChg>
    </pc:docChg>
  </pc:docChgLst>
  <pc:docChgLst>
    <pc:chgData name="Montigny, Laure" userId="5721f8b4-49d2-4481-baac-9422e70a7d32" providerId="ADAL" clId="{118C2996-71A2-4C44-829A-7C147D595BE7}"/>
    <pc:docChg chg="undo custSel addSld delSld modSld sldOrd modMainMaster">
      <pc:chgData name="Montigny, Laure" userId="5721f8b4-49d2-4481-baac-9422e70a7d32" providerId="ADAL" clId="{118C2996-71A2-4C44-829A-7C147D595BE7}" dt="2019-10-31T13:25:52.736" v="9504"/>
      <pc:docMkLst>
        <pc:docMk/>
      </pc:docMkLst>
      <pc:sldChg chg="addSp delSp modSp add ord modTransition">
        <pc:chgData name="Montigny, Laure" userId="5721f8b4-49d2-4481-baac-9422e70a7d32" providerId="ADAL" clId="{118C2996-71A2-4C44-829A-7C147D595BE7}" dt="2019-10-11T08:36:23.410" v="9476" actId="20577"/>
        <pc:sldMkLst>
          <pc:docMk/>
          <pc:sldMk cId="2291983689" sldId="568"/>
        </pc:sldMkLst>
        <pc:spChg chg="add mod">
          <ac:chgData name="Montigny, Laure" userId="5721f8b4-49d2-4481-baac-9422e70a7d32" providerId="ADAL" clId="{118C2996-71A2-4C44-829A-7C147D595BE7}" dt="2019-09-20T09:21:05.289" v="7208" actId="1036"/>
          <ac:spMkLst>
            <pc:docMk/>
            <pc:sldMk cId="2291983689" sldId="568"/>
            <ac:spMk id="55" creationId="{84AB0B88-8FBE-4F73-9460-406699541EDC}"/>
          </ac:spMkLst>
        </pc:spChg>
        <pc:spChg chg="mod">
          <ac:chgData name="Montigny, Laure" userId="5721f8b4-49d2-4481-baac-9422e70a7d32" providerId="ADAL" clId="{118C2996-71A2-4C44-829A-7C147D595BE7}" dt="2019-09-20T07:47:20.650" v="5699" actId="2711"/>
          <ac:spMkLst>
            <pc:docMk/>
            <pc:sldMk cId="2291983689" sldId="568"/>
            <ac:spMk id="56" creationId="{8E49DEEA-DF3B-491E-837B-FB8F092CB41B}"/>
          </ac:spMkLst>
        </pc:spChg>
        <pc:spChg chg="add mod">
          <ac:chgData name="Montigny, Laure" userId="5721f8b4-49d2-4481-baac-9422e70a7d32" providerId="ADAL" clId="{118C2996-71A2-4C44-829A-7C147D595BE7}" dt="2019-10-11T08:36:13.692" v="9471" actId="20577"/>
          <ac:spMkLst>
            <pc:docMk/>
            <pc:sldMk cId="2291983689" sldId="568"/>
            <ac:spMk id="57" creationId="{7C5166DB-260E-4842-A1F7-153DF45BE744}"/>
          </ac:spMkLst>
        </pc:spChg>
        <pc:spChg chg="del mod">
          <ac:chgData name="Montigny, Laure" userId="5721f8b4-49d2-4481-baac-9422e70a7d32" providerId="ADAL" clId="{118C2996-71A2-4C44-829A-7C147D595BE7}" dt="2019-09-20T09:21:16.871" v="7209" actId="478"/>
          <ac:spMkLst>
            <pc:docMk/>
            <pc:sldMk cId="2291983689" sldId="568"/>
            <ac:spMk id="57" creationId="{9D98E087-BAD9-445F-8CA1-D524C7F51083}"/>
          </ac:spMkLst>
        </pc:spChg>
        <pc:spChg chg="add mod">
          <ac:chgData name="Montigny, Laure" userId="5721f8b4-49d2-4481-baac-9422e70a7d32" providerId="ADAL" clId="{118C2996-71A2-4C44-829A-7C147D595BE7}" dt="2019-09-17T15:14:39.543" v="2881" actId="1035"/>
          <ac:spMkLst>
            <pc:docMk/>
            <pc:sldMk cId="2291983689" sldId="568"/>
            <ac:spMk id="58" creationId="{DF849BC7-2B1B-4259-B005-F766AE43A7AE}"/>
          </ac:spMkLst>
        </pc:spChg>
        <pc:spChg chg="mod">
          <ac:chgData name="Montigny, Laure" userId="5721f8b4-49d2-4481-baac-9422e70a7d32" providerId="ADAL" clId="{118C2996-71A2-4C44-829A-7C147D595BE7}" dt="2019-09-20T09:21:00.595" v="7202" actId="1036"/>
          <ac:spMkLst>
            <pc:docMk/>
            <pc:sldMk cId="2291983689" sldId="568"/>
            <ac:spMk id="59" creationId="{C885F008-4800-4044-A601-42D911FBE549}"/>
          </ac:spMkLst>
        </pc:spChg>
        <pc:spChg chg="mod">
          <ac:chgData name="Montigny, Laure" userId="5721f8b4-49d2-4481-baac-9422e70a7d32" providerId="ADAL" clId="{118C2996-71A2-4C44-829A-7C147D595BE7}" dt="2019-09-20T09:20:50.803" v="7195" actId="1036"/>
          <ac:spMkLst>
            <pc:docMk/>
            <pc:sldMk cId="2291983689" sldId="568"/>
            <ac:spMk id="60" creationId="{F3680749-C1D4-456F-90F4-05B22CF55F0A}"/>
          </ac:spMkLst>
        </pc:spChg>
        <pc:spChg chg="mod">
          <ac:chgData name="Montigny, Laure" userId="5721f8b4-49d2-4481-baac-9422e70a7d32" providerId="ADAL" clId="{118C2996-71A2-4C44-829A-7C147D595BE7}" dt="2019-09-20T09:21:46.551" v="7216" actId="2711"/>
          <ac:spMkLst>
            <pc:docMk/>
            <pc:sldMk cId="2291983689" sldId="568"/>
            <ac:spMk id="65" creationId="{0E0972D3-011C-4841-8CE3-ABBFC38D752D}"/>
          </ac:spMkLst>
        </pc:spChg>
        <pc:spChg chg="add del mod">
          <ac:chgData name="Montigny, Laure" userId="5721f8b4-49d2-4481-baac-9422e70a7d32" providerId="ADAL" clId="{118C2996-71A2-4C44-829A-7C147D595BE7}" dt="2019-09-20T09:40:21.856" v="8400" actId="478"/>
          <ac:spMkLst>
            <pc:docMk/>
            <pc:sldMk cId="2291983689" sldId="568"/>
            <ac:spMk id="67" creationId="{97BBB8D5-2519-4804-8C85-BC2E80EAEADB}"/>
          </ac:spMkLst>
        </pc:spChg>
        <pc:spChg chg="add">
          <ac:chgData name="Montigny, Laure" userId="5721f8b4-49d2-4481-baac-9422e70a7d32" providerId="ADAL" clId="{118C2996-71A2-4C44-829A-7C147D595BE7}" dt="2019-09-17T15:18:15.639" v="2992"/>
          <ac:spMkLst>
            <pc:docMk/>
            <pc:sldMk cId="2291983689" sldId="568"/>
            <ac:spMk id="68" creationId="{7FC864C5-2CC9-4A44-AA31-01DB290CBD84}"/>
          </ac:spMkLst>
        </pc:spChg>
        <pc:spChg chg="mod">
          <ac:chgData name="Montigny, Laure" userId="5721f8b4-49d2-4481-baac-9422e70a7d32" providerId="ADAL" clId="{118C2996-71A2-4C44-829A-7C147D595BE7}" dt="2019-09-20T09:21:46.551" v="7216" actId="2711"/>
          <ac:spMkLst>
            <pc:docMk/>
            <pc:sldMk cId="2291983689" sldId="568"/>
            <ac:spMk id="69" creationId="{FD6B989A-08A0-4684-89A4-1FFA2B5B10F9}"/>
          </ac:spMkLst>
        </pc:spChg>
        <pc:spChg chg="add mod">
          <ac:chgData name="Montigny, Laure" userId="5721f8b4-49d2-4481-baac-9422e70a7d32" providerId="ADAL" clId="{118C2996-71A2-4C44-829A-7C147D595BE7}" dt="2019-09-17T15:18:27.945" v="2994" actId="1076"/>
          <ac:spMkLst>
            <pc:docMk/>
            <pc:sldMk cId="2291983689" sldId="568"/>
            <ac:spMk id="70" creationId="{40CF57C3-3CFC-4C73-B834-01EDFCA8BD88}"/>
          </ac:spMkLst>
        </pc:spChg>
        <pc:spChg chg="add">
          <ac:chgData name="Montigny, Laure" userId="5721f8b4-49d2-4481-baac-9422e70a7d32" providerId="ADAL" clId="{118C2996-71A2-4C44-829A-7C147D595BE7}" dt="2019-09-20T09:21:17.718" v="7210"/>
          <ac:spMkLst>
            <pc:docMk/>
            <pc:sldMk cId="2291983689" sldId="568"/>
            <ac:spMk id="71" creationId="{E540DDE0-3768-4467-8BA1-FFB649E7E353}"/>
          </ac:spMkLst>
        </pc:spChg>
        <pc:spChg chg="del mod">
          <ac:chgData name="Montigny, Laure" userId="5721f8b4-49d2-4481-baac-9422e70a7d32" providerId="ADAL" clId="{118C2996-71A2-4C44-829A-7C147D595BE7}" dt="2019-09-17T15:18:09.571" v="2989" actId="478"/>
          <ac:spMkLst>
            <pc:docMk/>
            <pc:sldMk cId="2291983689" sldId="568"/>
            <ac:spMk id="74" creationId="{52689C17-364E-4D40-8675-F2DA929583A3}"/>
          </ac:spMkLst>
        </pc:spChg>
        <pc:spChg chg="del">
          <ac:chgData name="Montigny, Laure" userId="5721f8b4-49d2-4481-baac-9422e70a7d32" providerId="ADAL" clId="{118C2996-71A2-4C44-829A-7C147D595BE7}" dt="2019-09-17T15:18:12.925" v="2990" actId="478"/>
          <ac:spMkLst>
            <pc:docMk/>
            <pc:sldMk cId="2291983689" sldId="568"/>
            <ac:spMk id="75" creationId="{915E63AC-D72B-4CDA-8B49-80CD263B5154}"/>
          </ac:spMkLst>
        </pc:spChg>
        <pc:spChg chg="del">
          <ac:chgData name="Montigny, Laure" userId="5721f8b4-49d2-4481-baac-9422e70a7d32" providerId="ADAL" clId="{118C2996-71A2-4C44-829A-7C147D595BE7}" dt="2019-09-17T15:18:15.310" v="2991" actId="478"/>
          <ac:spMkLst>
            <pc:docMk/>
            <pc:sldMk cId="2291983689" sldId="568"/>
            <ac:spMk id="76" creationId="{C9B67ABF-FA18-4450-BB0D-5D0E97C5C2BD}"/>
          </ac:spMkLst>
        </pc:spChg>
        <pc:spChg chg="mod">
          <ac:chgData name="Montigny, Laure" userId="5721f8b4-49d2-4481-baac-9422e70a7d32" providerId="ADAL" clId="{118C2996-71A2-4C44-829A-7C147D595BE7}" dt="2019-10-11T08:36:23.410" v="9476" actId="20577"/>
          <ac:spMkLst>
            <pc:docMk/>
            <pc:sldMk cId="2291983689" sldId="568"/>
            <ac:spMk id="77" creationId="{9C609CD1-37D6-4D9E-8134-59C3C9EC8AC7}"/>
          </ac:spMkLst>
        </pc:spChg>
        <pc:spChg chg="mod">
          <ac:chgData name="Montigny, Laure" userId="5721f8b4-49d2-4481-baac-9422e70a7d32" providerId="ADAL" clId="{118C2996-71A2-4C44-829A-7C147D595BE7}" dt="2019-09-20T07:47:44.823" v="5703" actId="207"/>
          <ac:spMkLst>
            <pc:docMk/>
            <pc:sldMk cId="2291983689" sldId="568"/>
            <ac:spMk id="78" creationId="{52030450-2308-4126-A29F-3356083DD3E5}"/>
          </ac:spMkLst>
        </pc:spChg>
        <pc:spChg chg="del mod">
          <ac:chgData name="Montigny, Laure" userId="5721f8b4-49d2-4481-baac-9422e70a7d32" providerId="ADAL" clId="{118C2996-71A2-4C44-829A-7C147D595BE7}" dt="2019-10-10T08:39:12.158" v="9406" actId="478"/>
          <ac:spMkLst>
            <pc:docMk/>
            <pc:sldMk cId="2291983689" sldId="568"/>
            <ac:spMk id="79" creationId="{D971279F-8202-4226-BF3B-0C1D35C873C5}"/>
          </ac:spMkLst>
        </pc:spChg>
        <pc:spChg chg="del">
          <ac:chgData name="Montigny, Laure" userId="5721f8b4-49d2-4481-baac-9422e70a7d32" providerId="ADAL" clId="{118C2996-71A2-4C44-829A-7C147D595BE7}" dt="2019-09-17T15:14:20.053" v="2856" actId="478"/>
          <ac:spMkLst>
            <pc:docMk/>
            <pc:sldMk cId="2291983689" sldId="568"/>
            <ac:spMk id="81" creationId="{C48CC17C-8DFA-4040-85FC-581F24D4893D}"/>
          </ac:spMkLst>
        </pc:spChg>
        <pc:spChg chg="del">
          <ac:chgData name="Montigny, Laure" userId="5721f8b4-49d2-4481-baac-9422e70a7d32" providerId="ADAL" clId="{118C2996-71A2-4C44-829A-7C147D595BE7}" dt="2019-09-17T15:14:23.145" v="2857" actId="478"/>
          <ac:spMkLst>
            <pc:docMk/>
            <pc:sldMk cId="2291983689" sldId="568"/>
            <ac:spMk id="94" creationId="{0D6D8C0C-B315-4078-9CE2-365BCF1E2006}"/>
          </ac:spMkLst>
        </pc:spChg>
        <pc:spChg chg="mod">
          <ac:chgData name="Montigny, Laure" userId="5721f8b4-49d2-4481-baac-9422e70a7d32" providerId="ADAL" clId="{118C2996-71A2-4C44-829A-7C147D595BE7}" dt="2019-09-20T09:21:46.551" v="7216" actId="2711"/>
          <ac:spMkLst>
            <pc:docMk/>
            <pc:sldMk cId="2291983689" sldId="568"/>
            <ac:spMk id="106" creationId="{12FBF0CF-9598-4483-A130-E7ACE0CE0BCE}"/>
          </ac:spMkLst>
        </pc:spChg>
        <pc:spChg chg="mod">
          <ac:chgData name="Montigny, Laure" userId="5721f8b4-49d2-4481-baac-9422e70a7d32" providerId="ADAL" clId="{118C2996-71A2-4C44-829A-7C147D595BE7}" dt="2019-09-20T09:22:19.284" v="7225" actId="2711"/>
          <ac:spMkLst>
            <pc:docMk/>
            <pc:sldMk cId="2291983689" sldId="568"/>
            <ac:spMk id="107" creationId="{5B1AE28A-F3CD-4CE8-8E77-134392A30F02}"/>
          </ac:spMkLst>
        </pc:spChg>
        <pc:spChg chg="mod">
          <ac:chgData name="Montigny, Laure" userId="5721f8b4-49d2-4481-baac-9422e70a7d32" providerId="ADAL" clId="{118C2996-71A2-4C44-829A-7C147D595BE7}" dt="2019-10-01T09:57:24.461" v="9372" actId="207"/>
          <ac:spMkLst>
            <pc:docMk/>
            <pc:sldMk cId="2291983689" sldId="568"/>
            <ac:spMk id="108" creationId="{32BB47EF-A9E0-4D56-AACD-FFEBBACF178A}"/>
          </ac:spMkLst>
        </pc:spChg>
        <pc:grpChg chg="del">
          <ac:chgData name="Montigny, Laure" userId="5721f8b4-49d2-4481-baac-9422e70a7d32" providerId="ADAL" clId="{118C2996-71A2-4C44-829A-7C147D595BE7}" dt="2019-09-17T15:14:25.726" v="2858" actId="478"/>
          <ac:grpSpMkLst>
            <pc:docMk/>
            <pc:sldMk cId="2291983689" sldId="568"/>
            <ac:grpSpMk id="95" creationId="{DF1DE4CD-0EE8-4364-83EB-70F6BC9F82A7}"/>
          </ac:grpSpMkLst>
        </pc:grpChg>
        <pc:picChg chg="add mod">
          <ac:chgData name="Montigny, Laure" userId="5721f8b4-49d2-4481-baac-9422e70a7d32" providerId="ADAL" clId="{118C2996-71A2-4C44-829A-7C147D595BE7}" dt="2019-09-20T09:21:05.289" v="7208" actId="1036"/>
          <ac:picMkLst>
            <pc:docMk/>
            <pc:sldMk cId="2291983689" sldId="568"/>
            <ac:picMk id="61" creationId="{1CF2C00C-DB96-41B9-8177-17F42D62298A}"/>
          </ac:picMkLst>
        </pc:picChg>
        <pc:picChg chg="add mod">
          <ac:chgData name="Montigny, Laure" userId="5721f8b4-49d2-4481-baac-9422e70a7d32" providerId="ADAL" clId="{118C2996-71A2-4C44-829A-7C147D595BE7}" dt="2019-09-20T09:21:05.289" v="7208" actId="1036"/>
          <ac:picMkLst>
            <pc:docMk/>
            <pc:sldMk cId="2291983689" sldId="568"/>
            <ac:picMk id="62" creationId="{4280DBF4-D6B2-4FF0-8C48-939F5341DB16}"/>
          </ac:picMkLst>
        </pc:picChg>
        <pc:picChg chg="add mod">
          <ac:chgData name="Montigny, Laure" userId="5721f8b4-49d2-4481-baac-9422e70a7d32" providerId="ADAL" clId="{118C2996-71A2-4C44-829A-7C147D595BE7}" dt="2019-09-20T09:21:05.289" v="7208" actId="1036"/>
          <ac:picMkLst>
            <pc:docMk/>
            <pc:sldMk cId="2291983689" sldId="568"/>
            <ac:picMk id="63" creationId="{4D9C641D-1973-4F6B-B577-24847300206C}"/>
          </ac:picMkLst>
        </pc:picChg>
        <pc:picChg chg="add mod">
          <ac:chgData name="Montigny, Laure" userId="5721f8b4-49d2-4481-baac-9422e70a7d32" providerId="ADAL" clId="{118C2996-71A2-4C44-829A-7C147D595BE7}" dt="2019-09-20T09:21:05.289" v="7208" actId="1036"/>
          <ac:picMkLst>
            <pc:docMk/>
            <pc:sldMk cId="2291983689" sldId="568"/>
            <ac:picMk id="64" creationId="{BECE2216-AACE-4165-9322-3FBA95B6E1BF}"/>
          </ac:picMkLst>
        </pc:picChg>
        <pc:picChg chg="add mod">
          <ac:chgData name="Montigny, Laure" userId="5721f8b4-49d2-4481-baac-9422e70a7d32" providerId="ADAL" clId="{118C2996-71A2-4C44-829A-7C147D595BE7}" dt="2019-09-20T09:21:05.289" v="7208" actId="1036"/>
          <ac:picMkLst>
            <pc:docMk/>
            <pc:sldMk cId="2291983689" sldId="568"/>
            <ac:picMk id="66" creationId="{767E6A89-1CAC-464F-9F5C-A08B997A754D}"/>
          </ac:picMkLst>
        </pc:picChg>
        <pc:picChg chg="del">
          <ac:chgData name="Montigny, Laure" userId="5721f8b4-49d2-4481-baac-9422e70a7d32" providerId="ADAL" clId="{118C2996-71A2-4C44-829A-7C147D595BE7}" dt="2019-09-17T15:14:25.726" v="2858" actId="478"/>
          <ac:picMkLst>
            <pc:docMk/>
            <pc:sldMk cId="2291983689" sldId="568"/>
            <ac:picMk id="101" creationId="{2B476527-33A5-4AAE-9771-8519C6F5D34C}"/>
          </ac:picMkLst>
        </pc:picChg>
        <pc:picChg chg="del">
          <ac:chgData name="Montigny, Laure" userId="5721f8b4-49d2-4481-baac-9422e70a7d32" providerId="ADAL" clId="{118C2996-71A2-4C44-829A-7C147D595BE7}" dt="2019-09-17T15:14:25.726" v="2858" actId="478"/>
          <ac:picMkLst>
            <pc:docMk/>
            <pc:sldMk cId="2291983689" sldId="568"/>
            <ac:picMk id="102" creationId="{9435BC74-2E7F-44B9-89F0-585CD4F4D493}"/>
          </ac:picMkLst>
        </pc:picChg>
        <pc:picChg chg="del">
          <ac:chgData name="Montigny, Laure" userId="5721f8b4-49d2-4481-baac-9422e70a7d32" providerId="ADAL" clId="{118C2996-71A2-4C44-829A-7C147D595BE7}" dt="2019-09-17T15:14:25.726" v="2858" actId="478"/>
          <ac:picMkLst>
            <pc:docMk/>
            <pc:sldMk cId="2291983689" sldId="568"/>
            <ac:picMk id="103" creationId="{27284397-3BFA-4281-B007-BFA0AD086029}"/>
          </ac:picMkLst>
        </pc:picChg>
        <pc:picChg chg="del">
          <ac:chgData name="Montigny, Laure" userId="5721f8b4-49d2-4481-baac-9422e70a7d32" providerId="ADAL" clId="{118C2996-71A2-4C44-829A-7C147D595BE7}" dt="2019-09-17T15:14:25.726" v="2858" actId="478"/>
          <ac:picMkLst>
            <pc:docMk/>
            <pc:sldMk cId="2291983689" sldId="568"/>
            <ac:picMk id="104" creationId="{E03B5793-C916-4E63-B7CB-3115E1EC721B}"/>
          </ac:picMkLst>
        </pc:picChg>
        <pc:picChg chg="del">
          <ac:chgData name="Montigny, Laure" userId="5721f8b4-49d2-4481-baac-9422e70a7d32" providerId="ADAL" clId="{118C2996-71A2-4C44-829A-7C147D595BE7}" dt="2019-09-17T15:14:25.726" v="2858" actId="478"/>
          <ac:picMkLst>
            <pc:docMk/>
            <pc:sldMk cId="2291983689" sldId="568"/>
            <ac:picMk id="105" creationId="{1A277DF9-5F40-4A81-A54A-23EA87EEF5FD}"/>
          </ac:picMkLst>
        </pc:picChg>
      </pc:sldChg>
      <pc:sldChg chg="addSp delSp modSp add">
        <pc:chgData name="Montigny, Laure" userId="5721f8b4-49d2-4481-baac-9422e70a7d32" providerId="ADAL" clId="{118C2996-71A2-4C44-829A-7C147D595BE7}" dt="2019-10-11T08:41:17.583" v="9502" actId="14100"/>
        <pc:sldMkLst>
          <pc:docMk/>
          <pc:sldMk cId="1221265270" sldId="569"/>
        </pc:sldMkLst>
        <pc:spChg chg="add del">
          <ac:chgData name="Montigny, Laure" userId="5721f8b4-49d2-4481-baac-9422e70a7d32" providerId="ADAL" clId="{118C2996-71A2-4C44-829A-7C147D595BE7}" dt="2019-09-20T09:18:06.442" v="7145"/>
          <ac:spMkLst>
            <pc:docMk/>
            <pc:sldMk cId="1221265270" sldId="569"/>
            <ac:spMk id="2" creationId="{A9EF9B18-B47B-4752-BEF1-4A6F4AA5306B}"/>
          </ac:spMkLst>
        </pc:spChg>
        <pc:spChg chg="add del">
          <ac:chgData name="Montigny, Laure" userId="5721f8b4-49d2-4481-baac-9422e70a7d32" providerId="ADAL" clId="{118C2996-71A2-4C44-829A-7C147D595BE7}" dt="2019-09-20T09:18:08.543" v="7147"/>
          <ac:spMkLst>
            <pc:docMk/>
            <pc:sldMk cId="1221265270" sldId="569"/>
            <ac:spMk id="3" creationId="{2DF3B29F-214F-411E-8A5E-293D94358C28}"/>
          </ac:spMkLst>
        </pc:spChg>
        <pc:spChg chg="add del mod">
          <ac:chgData name="Montigny, Laure" userId="5721f8b4-49d2-4481-baac-9422e70a7d32" providerId="ADAL" clId="{118C2996-71A2-4C44-829A-7C147D595BE7}" dt="2019-09-20T09:18:18.934" v="7155" actId="478"/>
          <ac:spMkLst>
            <pc:docMk/>
            <pc:sldMk cId="1221265270" sldId="569"/>
            <ac:spMk id="4" creationId="{11487EF4-9E28-48DC-9716-F8EF970AE532}"/>
          </ac:spMkLst>
        </pc:spChg>
        <pc:spChg chg="add mod">
          <ac:chgData name="Montigny, Laure" userId="5721f8b4-49d2-4481-baac-9422e70a7d32" providerId="ADAL" clId="{118C2996-71A2-4C44-829A-7C147D595BE7}" dt="2019-09-20T12:40:35.904" v="9220" actId="1036"/>
          <ac:spMkLst>
            <pc:docMk/>
            <pc:sldMk cId="1221265270" sldId="569"/>
            <ac:spMk id="39" creationId="{405FA5FB-CCD9-4CE1-A503-FBCA6E1AC3A0}"/>
          </ac:spMkLst>
        </pc:spChg>
        <pc:spChg chg="mod">
          <ac:chgData name="Montigny, Laure" userId="5721f8b4-49d2-4481-baac-9422e70a7d32" providerId="ADAL" clId="{118C2996-71A2-4C44-829A-7C147D595BE7}" dt="2019-10-10T08:35:44.878" v="9380" actId="27636"/>
          <ac:spMkLst>
            <pc:docMk/>
            <pc:sldMk cId="1221265270" sldId="569"/>
            <ac:spMk id="56" creationId="{8E49DEEA-DF3B-491E-837B-FB8F092CB41B}"/>
          </ac:spMkLst>
        </pc:spChg>
        <pc:spChg chg="mod">
          <ac:chgData name="Montigny, Laure" userId="5721f8b4-49d2-4481-baac-9422e70a7d32" providerId="ADAL" clId="{118C2996-71A2-4C44-829A-7C147D595BE7}" dt="2019-09-20T09:19:53.970" v="7183" actId="1036"/>
          <ac:spMkLst>
            <pc:docMk/>
            <pc:sldMk cId="1221265270" sldId="569"/>
            <ac:spMk id="57" creationId="{9D98E087-BAD9-445F-8CA1-D524C7F51083}"/>
          </ac:spMkLst>
        </pc:spChg>
        <pc:spChg chg="add mod">
          <ac:chgData name="Montigny, Laure" userId="5721f8b4-49d2-4481-baac-9422e70a7d32" providerId="ADAL" clId="{118C2996-71A2-4C44-829A-7C147D595BE7}" dt="2019-09-20T12:40:35.904" v="9220" actId="1036"/>
          <ac:spMkLst>
            <pc:docMk/>
            <pc:sldMk cId="1221265270" sldId="569"/>
            <ac:spMk id="58" creationId="{E1FDBC7B-6F60-4207-B121-82F977AA9B11}"/>
          </ac:spMkLst>
        </pc:spChg>
        <pc:spChg chg="mod">
          <ac:chgData name="Montigny, Laure" userId="5721f8b4-49d2-4481-baac-9422e70a7d32" providerId="ADAL" clId="{118C2996-71A2-4C44-829A-7C147D595BE7}" dt="2019-10-10T08:36:10.624" v="9384" actId="1036"/>
          <ac:spMkLst>
            <pc:docMk/>
            <pc:sldMk cId="1221265270" sldId="569"/>
            <ac:spMk id="59" creationId="{C885F008-4800-4044-A601-42D911FBE549}"/>
          </ac:spMkLst>
        </pc:spChg>
        <pc:spChg chg="mod">
          <ac:chgData name="Montigny, Laure" userId="5721f8b4-49d2-4481-baac-9422e70a7d32" providerId="ADAL" clId="{118C2996-71A2-4C44-829A-7C147D595BE7}" dt="2019-09-20T09:04:18.040" v="6402" actId="14100"/>
          <ac:spMkLst>
            <pc:docMk/>
            <pc:sldMk cId="1221265270" sldId="569"/>
            <ac:spMk id="60" creationId="{F3680749-C1D4-456F-90F4-05B22CF55F0A}"/>
          </ac:spMkLst>
        </pc:spChg>
        <pc:spChg chg="add mod">
          <ac:chgData name="Montigny, Laure" userId="5721f8b4-49d2-4481-baac-9422e70a7d32" providerId="ADAL" clId="{118C2996-71A2-4C44-829A-7C147D595BE7}" dt="2019-09-20T12:40:35.904" v="9220" actId="1036"/>
          <ac:spMkLst>
            <pc:docMk/>
            <pc:sldMk cId="1221265270" sldId="569"/>
            <ac:spMk id="61" creationId="{24BABDDF-43B3-41D9-BFE9-1059099C3A37}"/>
          </ac:spMkLst>
        </pc:spChg>
        <pc:spChg chg="add mod">
          <ac:chgData name="Montigny, Laure" userId="5721f8b4-49d2-4481-baac-9422e70a7d32" providerId="ADAL" clId="{118C2996-71A2-4C44-829A-7C147D595BE7}" dt="2019-10-11T08:41:17.583" v="9502" actId="14100"/>
          <ac:spMkLst>
            <pc:docMk/>
            <pc:sldMk cId="1221265270" sldId="569"/>
            <ac:spMk id="62" creationId="{D1F52E58-FF24-4BA6-8692-76CC94F5205C}"/>
          </ac:spMkLst>
        </pc:spChg>
        <pc:spChg chg="mod">
          <ac:chgData name="Montigny, Laure" userId="5721f8b4-49d2-4481-baac-9422e70a7d32" providerId="ADAL" clId="{118C2996-71A2-4C44-829A-7C147D595BE7}" dt="2019-09-20T12:39:09.623" v="9198" actId="20577"/>
          <ac:spMkLst>
            <pc:docMk/>
            <pc:sldMk cId="1221265270" sldId="569"/>
            <ac:spMk id="65" creationId="{0E0972D3-011C-4841-8CE3-ABBFC38D752D}"/>
          </ac:spMkLst>
        </pc:spChg>
        <pc:spChg chg="mod">
          <ac:chgData name="Montigny, Laure" userId="5721f8b4-49d2-4481-baac-9422e70a7d32" providerId="ADAL" clId="{118C2996-71A2-4C44-829A-7C147D595BE7}" dt="2019-10-11T08:40:47.677" v="9500" actId="20577"/>
          <ac:spMkLst>
            <pc:docMk/>
            <pc:sldMk cId="1221265270" sldId="569"/>
            <ac:spMk id="69" creationId="{FD6B989A-08A0-4684-89A4-1FFA2B5B10F9}"/>
          </ac:spMkLst>
        </pc:spChg>
        <pc:spChg chg="mod">
          <ac:chgData name="Montigny, Laure" userId="5721f8b4-49d2-4481-baac-9422e70a7d32" providerId="ADAL" clId="{118C2996-71A2-4C44-829A-7C147D595BE7}" dt="2019-09-20T09:04:34.834" v="6408" actId="1036"/>
          <ac:spMkLst>
            <pc:docMk/>
            <pc:sldMk cId="1221265270" sldId="569"/>
            <ac:spMk id="78" creationId="{52030450-2308-4126-A29F-3356083DD3E5}"/>
          </ac:spMkLst>
        </pc:spChg>
        <pc:spChg chg="del mod">
          <ac:chgData name="Montigny, Laure" userId="5721f8b4-49d2-4481-baac-9422e70a7d32" providerId="ADAL" clId="{118C2996-71A2-4C44-829A-7C147D595BE7}" dt="2019-10-11T08:39:08.532" v="9485" actId="478"/>
          <ac:spMkLst>
            <pc:docMk/>
            <pc:sldMk cId="1221265270" sldId="569"/>
            <ac:spMk id="79" creationId="{D971279F-8202-4226-BF3B-0C1D35C873C5}"/>
          </ac:spMkLst>
        </pc:spChg>
        <pc:spChg chg="mod">
          <ac:chgData name="Montigny, Laure" userId="5721f8b4-49d2-4481-baac-9422e70a7d32" providerId="ADAL" clId="{118C2996-71A2-4C44-829A-7C147D595BE7}" dt="2019-09-20T12:40:35.904" v="9220" actId="1036"/>
          <ac:spMkLst>
            <pc:docMk/>
            <pc:sldMk cId="1221265270" sldId="569"/>
            <ac:spMk id="99" creationId="{09D2B2FE-6996-4714-9717-C29D3C7FB960}"/>
          </ac:spMkLst>
        </pc:spChg>
        <pc:spChg chg="mod">
          <ac:chgData name="Montigny, Laure" userId="5721f8b4-49d2-4481-baac-9422e70a7d32" providerId="ADAL" clId="{118C2996-71A2-4C44-829A-7C147D595BE7}" dt="2019-10-10T08:36:08.895" v="9382" actId="14100"/>
          <ac:spMkLst>
            <pc:docMk/>
            <pc:sldMk cId="1221265270" sldId="569"/>
            <ac:spMk id="106" creationId="{12FBF0CF-9598-4483-A130-E7ACE0CE0BCE}"/>
          </ac:spMkLst>
        </pc:spChg>
        <pc:spChg chg="mod">
          <ac:chgData name="Montigny, Laure" userId="5721f8b4-49d2-4481-baac-9422e70a7d32" providerId="ADAL" clId="{118C2996-71A2-4C44-829A-7C147D595BE7}" dt="2019-09-20T12:41:31.120" v="9241" actId="20577"/>
          <ac:spMkLst>
            <pc:docMk/>
            <pc:sldMk cId="1221265270" sldId="569"/>
            <ac:spMk id="107" creationId="{5B1AE28A-F3CD-4CE8-8E77-134392A30F02}"/>
          </ac:spMkLst>
        </pc:spChg>
        <pc:spChg chg="del mod">
          <ac:chgData name="Montigny, Laure" userId="5721f8b4-49d2-4481-baac-9422e70a7d32" providerId="ADAL" clId="{118C2996-71A2-4C44-829A-7C147D595BE7}" dt="2019-09-20T09:01:33.969" v="6291" actId="478"/>
          <ac:spMkLst>
            <pc:docMk/>
            <pc:sldMk cId="1221265270" sldId="569"/>
            <ac:spMk id="108" creationId="{32BB47EF-A9E0-4D56-AACD-FFEBBACF178A}"/>
          </ac:spMkLst>
        </pc:spChg>
        <pc:picChg chg="del">
          <ac:chgData name="Montigny, Laure" userId="5721f8b4-49d2-4481-baac-9422e70a7d32" providerId="ADAL" clId="{118C2996-71A2-4C44-829A-7C147D595BE7}" dt="2019-09-19T15:11:40.650" v="5664" actId="478"/>
          <ac:picMkLst>
            <pc:docMk/>
            <pc:sldMk cId="1221265270" sldId="569"/>
            <ac:picMk id="100" creationId="{845EDC64-3244-427D-94B9-A48FFC48134E}"/>
          </ac:picMkLst>
        </pc:picChg>
        <pc:picChg chg="del">
          <ac:chgData name="Montigny, Laure" userId="5721f8b4-49d2-4481-baac-9422e70a7d32" providerId="ADAL" clId="{118C2996-71A2-4C44-829A-7C147D595BE7}" dt="2019-09-19T15:11:40.650" v="5664" actId="478"/>
          <ac:picMkLst>
            <pc:docMk/>
            <pc:sldMk cId="1221265270" sldId="569"/>
            <ac:picMk id="101" creationId="{80E6B482-893C-470D-932C-D1F9E7332D1B}"/>
          </ac:picMkLst>
        </pc:picChg>
        <pc:picChg chg="del">
          <ac:chgData name="Montigny, Laure" userId="5721f8b4-49d2-4481-baac-9422e70a7d32" providerId="ADAL" clId="{118C2996-71A2-4C44-829A-7C147D595BE7}" dt="2019-09-19T15:11:40.650" v="5664" actId="478"/>
          <ac:picMkLst>
            <pc:docMk/>
            <pc:sldMk cId="1221265270" sldId="569"/>
            <ac:picMk id="102" creationId="{18D77C52-DE26-41D0-A6CB-2DE3CCF55CDB}"/>
          </ac:picMkLst>
        </pc:picChg>
        <pc:picChg chg="del">
          <ac:chgData name="Montigny, Laure" userId="5721f8b4-49d2-4481-baac-9422e70a7d32" providerId="ADAL" clId="{118C2996-71A2-4C44-829A-7C147D595BE7}" dt="2019-09-19T15:11:40.650" v="5664" actId="478"/>
          <ac:picMkLst>
            <pc:docMk/>
            <pc:sldMk cId="1221265270" sldId="569"/>
            <ac:picMk id="103" creationId="{5F07F4DA-FB91-42CC-A199-BA8947337781}"/>
          </ac:picMkLst>
        </pc:picChg>
        <pc:picChg chg="del">
          <ac:chgData name="Montigny, Laure" userId="5721f8b4-49d2-4481-baac-9422e70a7d32" providerId="ADAL" clId="{118C2996-71A2-4C44-829A-7C147D595BE7}" dt="2019-09-19T15:11:40.650" v="5664" actId="478"/>
          <ac:picMkLst>
            <pc:docMk/>
            <pc:sldMk cId="1221265270" sldId="569"/>
            <ac:picMk id="104" creationId="{F85C871D-68E0-4035-B109-78A0ECDCC0A2}"/>
          </ac:picMkLst>
        </pc:picChg>
      </pc:sldChg>
      <pc:sldChg chg="addSp delSp modSp add">
        <pc:chgData name="Montigny, Laure" userId="5721f8b4-49d2-4481-baac-9422e70a7d32" providerId="ADAL" clId="{118C2996-71A2-4C44-829A-7C147D595BE7}" dt="2019-10-11T08:36:38.178" v="9480" actId="1076"/>
        <pc:sldMkLst>
          <pc:docMk/>
          <pc:sldMk cId="2923988817" sldId="570"/>
        </pc:sldMkLst>
        <pc:spChg chg="add del">
          <ac:chgData name="Montigny, Laure" userId="5721f8b4-49d2-4481-baac-9422e70a7d32" providerId="ADAL" clId="{118C2996-71A2-4C44-829A-7C147D595BE7}" dt="2019-10-11T08:36:31.119" v="9477" actId="478"/>
          <ac:spMkLst>
            <pc:docMk/>
            <pc:sldMk cId="2923988817" sldId="570"/>
            <ac:spMk id="39" creationId="{88D18A43-A27F-467C-AC71-46214B8E94E0}"/>
          </ac:spMkLst>
        </pc:spChg>
        <pc:spChg chg="mod">
          <ac:chgData name="Montigny, Laure" userId="5721f8b4-49d2-4481-baac-9422e70a7d32" providerId="ADAL" clId="{118C2996-71A2-4C44-829A-7C147D595BE7}" dt="2019-09-20T09:37:57.721" v="8295" actId="14100"/>
          <ac:spMkLst>
            <pc:docMk/>
            <pc:sldMk cId="2923988817" sldId="570"/>
            <ac:spMk id="55" creationId="{84AB0B88-8FBE-4F73-9460-406699541EDC}"/>
          </ac:spMkLst>
        </pc:spChg>
        <pc:spChg chg="mod">
          <ac:chgData name="Montigny, Laure" userId="5721f8b4-49d2-4481-baac-9422e70a7d32" providerId="ADAL" clId="{118C2996-71A2-4C44-829A-7C147D595BE7}" dt="2019-09-20T07:48:28.216" v="5725" actId="20577"/>
          <ac:spMkLst>
            <pc:docMk/>
            <pc:sldMk cId="2923988817" sldId="570"/>
            <ac:spMk id="56" creationId="{8E49DEEA-DF3B-491E-837B-FB8F092CB41B}"/>
          </ac:spMkLst>
        </pc:spChg>
        <pc:spChg chg="mod">
          <ac:chgData name="Montigny, Laure" userId="5721f8b4-49d2-4481-baac-9422e70a7d32" providerId="ADAL" clId="{118C2996-71A2-4C44-829A-7C147D595BE7}" dt="2019-10-01T09:54:39.540" v="9334" actId="1076"/>
          <ac:spMkLst>
            <pc:docMk/>
            <pc:sldMk cId="2923988817" sldId="570"/>
            <ac:spMk id="57" creationId="{9D98E087-BAD9-445F-8CA1-D524C7F51083}"/>
          </ac:spMkLst>
        </pc:spChg>
        <pc:spChg chg="mod">
          <ac:chgData name="Montigny, Laure" userId="5721f8b4-49d2-4481-baac-9422e70a7d32" providerId="ADAL" clId="{118C2996-71A2-4C44-829A-7C147D595BE7}" dt="2019-09-20T09:37:40.428" v="8278" actId="14100"/>
          <ac:spMkLst>
            <pc:docMk/>
            <pc:sldMk cId="2923988817" sldId="570"/>
            <ac:spMk id="59" creationId="{C885F008-4800-4044-A601-42D911FBE549}"/>
          </ac:spMkLst>
        </pc:spChg>
        <pc:spChg chg="mod">
          <ac:chgData name="Montigny, Laure" userId="5721f8b4-49d2-4481-baac-9422e70a7d32" providerId="ADAL" clId="{118C2996-71A2-4C44-829A-7C147D595BE7}" dt="2019-09-20T09:42:34.562" v="8564" actId="1035"/>
          <ac:spMkLst>
            <pc:docMk/>
            <pc:sldMk cId="2923988817" sldId="570"/>
            <ac:spMk id="60" creationId="{F3680749-C1D4-456F-90F4-05B22CF55F0A}"/>
          </ac:spMkLst>
        </pc:spChg>
        <pc:spChg chg="add mod">
          <ac:chgData name="Montigny, Laure" userId="5721f8b4-49d2-4481-baac-9422e70a7d32" providerId="ADAL" clId="{118C2996-71A2-4C44-829A-7C147D595BE7}" dt="2019-10-11T08:36:38.178" v="9480" actId="1076"/>
          <ac:spMkLst>
            <pc:docMk/>
            <pc:sldMk cId="2923988817" sldId="570"/>
            <ac:spMk id="61" creationId="{DCBF1718-D1F1-45C4-8134-B3BEB9FBBBB1}"/>
          </ac:spMkLst>
        </pc:spChg>
        <pc:spChg chg="mod">
          <ac:chgData name="Montigny, Laure" userId="5721f8b4-49d2-4481-baac-9422e70a7d32" providerId="ADAL" clId="{118C2996-71A2-4C44-829A-7C147D595BE7}" dt="2019-09-20T09:42:55.414" v="8566" actId="12"/>
          <ac:spMkLst>
            <pc:docMk/>
            <pc:sldMk cId="2923988817" sldId="570"/>
            <ac:spMk id="65" creationId="{0E0972D3-011C-4841-8CE3-ABBFC38D752D}"/>
          </ac:spMkLst>
        </pc:spChg>
        <pc:spChg chg="mod">
          <ac:chgData name="Montigny, Laure" userId="5721f8b4-49d2-4481-baac-9422e70a7d32" providerId="ADAL" clId="{118C2996-71A2-4C44-829A-7C147D595BE7}" dt="2019-09-20T09:23:34.701" v="7297" actId="113"/>
          <ac:spMkLst>
            <pc:docMk/>
            <pc:sldMk cId="2923988817" sldId="570"/>
            <ac:spMk id="69" creationId="{FD6B989A-08A0-4684-89A4-1FFA2B5B10F9}"/>
          </ac:spMkLst>
        </pc:spChg>
        <pc:spChg chg="add mod">
          <ac:chgData name="Montigny, Laure" userId="5721f8b4-49d2-4481-baac-9422e70a7d32" providerId="ADAL" clId="{118C2996-71A2-4C44-829A-7C147D595BE7}" dt="2019-09-20T09:23:34.701" v="7297" actId="113"/>
          <ac:spMkLst>
            <pc:docMk/>
            <pc:sldMk cId="2923988817" sldId="570"/>
            <ac:spMk id="71" creationId="{9CE6DD61-1B56-4FED-BC6B-24E7F7953EEA}"/>
          </ac:spMkLst>
        </pc:spChg>
        <pc:spChg chg="add mod">
          <ac:chgData name="Montigny, Laure" userId="5721f8b4-49d2-4481-baac-9422e70a7d32" providerId="ADAL" clId="{118C2996-71A2-4C44-829A-7C147D595BE7}" dt="2019-09-20T09:23:34.701" v="7297" actId="113"/>
          <ac:spMkLst>
            <pc:docMk/>
            <pc:sldMk cId="2923988817" sldId="570"/>
            <ac:spMk id="74" creationId="{3B1BE15D-92ED-4891-A9D7-2256EC55BD7E}"/>
          </ac:spMkLst>
        </pc:spChg>
        <pc:spChg chg="add mod">
          <ac:chgData name="Montigny, Laure" userId="5721f8b4-49d2-4481-baac-9422e70a7d32" providerId="ADAL" clId="{118C2996-71A2-4C44-829A-7C147D595BE7}" dt="2019-09-20T09:23:28.928" v="7295" actId="571"/>
          <ac:spMkLst>
            <pc:docMk/>
            <pc:sldMk cId="2923988817" sldId="570"/>
            <ac:spMk id="75" creationId="{6FA5E026-9276-4AA3-A8D0-618FA655D69C}"/>
          </ac:spMkLst>
        </pc:spChg>
        <pc:spChg chg="add mod">
          <ac:chgData name="Montigny, Laure" userId="5721f8b4-49d2-4481-baac-9422e70a7d32" providerId="ADAL" clId="{118C2996-71A2-4C44-829A-7C147D595BE7}" dt="2019-09-20T09:23:28.928" v="7295" actId="571"/>
          <ac:spMkLst>
            <pc:docMk/>
            <pc:sldMk cId="2923988817" sldId="570"/>
            <ac:spMk id="76" creationId="{D7D7EDB3-3965-4D4A-916B-9F144E26885C}"/>
          </ac:spMkLst>
        </pc:spChg>
        <pc:spChg chg="mod">
          <ac:chgData name="Montigny, Laure" userId="5721f8b4-49d2-4481-baac-9422e70a7d32" providerId="ADAL" clId="{118C2996-71A2-4C44-829A-7C147D595BE7}" dt="2019-09-20T09:37:40.428" v="8278" actId="14100"/>
          <ac:spMkLst>
            <pc:docMk/>
            <pc:sldMk cId="2923988817" sldId="570"/>
            <ac:spMk id="78" creationId="{52030450-2308-4126-A29F-3356083DD3E5}"/>
          </ac:spMkLst>
        </pc:spChg>
        <pc:spChg chg="del mod">
          <ac:chgData name="Montigny, Laure" userId="5721f8b4-49d2-4481-baac-9422e70a7d32" providerId="ADAL" clId="{118C2996-71A2-4C44-829A-7C147D595BE7}" dt="2019-10-10T08:39:04.870" v="9405" actId="478"/>
          <ac:spMkLst>
            <pc:docMk/>
            <pc:sldMk cId="2923988817" sldId="570"/>
            <ac:spMk id="79" creationId="{D971279F-8202-4226-BF3B-0C1D35C873C5}"/>
          </ac:spMkLst>
        </pc:spChg>
        <pc:spChg chg="add mod">
          <ac:chgData name="Montigny, Laure" userId="5721f8b4-49d2-4481-baac-9422e70a7d32" providerId="ADAL" clId="{118C2996-71A2-4C44-829A-7C147D595BE7}" dt="2019-09-20T09:23:28.928" v="7295" actId="571"/>
          <ac:spMkLst>
            <pc:docMk/>
            <pc:sldMk cId="2923988817" sldId="570"/>
            <ac:spMk id="80" creationId="{C6F97B5E-D5AB-4FA3-818B-EE27F04BD382}"/>
          </ac:spMkLst>
        </pc:spChg>
        <pc:spChg chg="add mod">
          <ac:chgData name="Montigny, Laure" userId="5721f8b4-49d2-4481-baac-9422e70a7d32" providerId="ADAL" clId="{118C2996-71A2-4C44-829A-7C147D595BE7}" dt="2019-09-20T09:23:28.928" v="7295" actId="571"/>
          <ac:spMkLst>
            <pc:docMk/>
            <pc:sldMk cId="2923988817" sldId="570"/>
            <ac:spMk id="81" creationId="{260484E3-EAAD-4520-9DC5-AA8EECBBCCBD}"/>
          </ac:spMkLst>
        </pc:spChg>
        <pc:spChg chg="mod">
          <ac:chgData name="Montigny, Laure" userId="5721f8b4-49d2-4481-baac-9422e70a7d32" providerId="ADAL" clId="{118C2996-71A2-4C44-829A-7C147D595BE7}" dt="2019-09-20T09:23:34.701" v="7297" actId="113"/>
          <ac:spMkLst>
            <pc:docMk/>
            <pc:sldMk cId="2923988817" sldId="570"/>
            <ac:spMk id="106" creationId="{12FBF0CF-9598-4483-A130-E7ACE0CE0BCE}"/>
          </ac:spMkLst>
        </pc:spChg>
        <pc:spChg chg="mod">
          <ac:chgData name="Montigny, Laure" userId="5721f8b4-49d2-4481-baac-9422e70a7d32" providerId="ADAL" clId="{118C2996-71A2-4C44-829A-7C147D595BE7}" dt="2019-10-01T09:54:50.402" v="9337" actId="14100"/>
          <ac:spMkLst>
            <pc:docMk/>
            <pc:sldMk cId="2923988817" sldId="570"/>
            <ac:spMk id="107" creationId="{5B1AE28A-F3CD-4CE8-8E77-134392A30F02}"/>
          </ac:spMkLst>
        </pc:spChg>
        <pc:spChg chg="del">
          <ac:chgData name="Montigny, Laure" userId="5721f8b4-49d2-4481-baac-9422e70a7d32" providerId="ADAL" clId="{118C2996-71A2-4C44-829A-7C147D595BE7}" dt="2019-09-20T09:22:37.905" v="7227" actId="478"/>
          <ac:spMkLst>
            <pc:docMk/>
            <pc:sldMk cId="2923988817" sldId="570"/>
            <ac:spMk id="108" creationId="{32BB47EF-A9E0-4D56-AACD-FFEBBACF178A}"/>
          </ac:spMkLst>
        </pc:spChg>
        <pc:picChg chg="del">
          <ac:chgData name="Montigny, Laure" userId="5721f8b4-49d2-4481-baac-9422e70a7d32" providerId="ADAL" clId="{118C2996-71A2-4C44-829A-7C147D595BE7}" dt="2019-09-20T07:53:42.741" v="6106" actId="478"/>
          <ac:picMkLst>
            <pc:docMk/>
            <pc:sldMk cId="2923988817" sldId="570"/>
            <ac:picMk id="61" creationId="{1CF2C00C-DB96-41B9-8177-17F42D62298A}"/>
          </ac:picMkLst>
        </pc:picChg>
        <pc:picChg chg="del">
          <ac:chgData name="Montigny, Laure" userId="5721f8b4-49d2-4481-baac-9422e70a7d32" providerId="ADAL" clId="{118C2996-71A2-4C44-829A-7C147D595BE7}" dt="2019-09-20T07:53:42.741" v="6106" actId="478"/>
          <ac:picMkLst>
            <pc:docMk/>
            <pc:sldMk cId="2923988817" sldId="570"/>
            <ac:picMk id="62" creationId="{4280DBF4-D6B2-4FF0-8C48-939F5341DB16}"/>
          </ac:picMkLst>
        </pc:picChg>
        <pc:picChg chg="del">
          <ac:chgData name="Montigny, Laure" userId="5721f8b4-49d2-4481-baac-9422e70a7d32" providerId="ADAL" clId="{118C2996-71A2-4C44-829A-7C147D595BE7}" dt="2019-09-20T07:53:42.741" v="6106" actId="478"/>
          <ac:picMkLst>
            <pc:docMk/>
            <pc:sldMk cId="2923988817" sldId="570"/>
            <ac:picMk id="63" creationId="{4D9C641D-1973-4F6B-B577-24847300206C}"/>
          </ac:picMkLst>
        </pc:picChg>
        <pc:picChg chg="del">
          <ac:chgData name="Montigny, Laure" userId="5721f8b4-49d2-4481-baac-9422e70a7d32" providerId="ADAL" clId="{118C2996-71A2-4C44-829A-7C147D595BE7}" dt="2019-09-20T07:53:42.741" v="6106" actId="478"/>
          <ac:picMkLst>
            <pc:docMk/>
            <pc:sldMk cId="2923988817" sldId="570"/>
            <ac:picMk id="64" creationId="{BECE2216-AACE-4165-9322-3FBA95B6E1BF}"/>
          </ac:picMkLst>
        </pc:picChg>
        <pc:picChg chg="del">
          <ac:chgData name="Montigny, Laure" userId="5721f8b4-49d2-4481-baac-9422e70a7d32" providerId="ADAL" clId="{118C2996-71A2-4C44-829A-7C147D595BE7}" dt="2019-09-20T07:53:42.741" v="6106" actId="478"/>
          <ac:picMkLst>
            <pc:docMk/>
            <pc:sldMk cId="2923988817" sldId="570"/>
            <ac:picMk id="66" creationId="{767E6A89-1CAC-464F-9F5C-A08B997A754D}"/>
          </ac:picMkLst>
        </pc:picChg>
      </pc:sldChg>
      <pc:sldChg chg="addSp delSp modSp add">
        <pc:chgData name="Montigny, Laure" userId="5721f8b4-49d2-4481-baac-9422e70a7d32" providerId="ADAL" clId="{118C2996-71A2-4C44-829A-7C147D595BE7}" dt="2019-10-31T13:25:52.736" v="9504"/>
        <pc:sldMkLst>
          <pc:docMk/>
          <pc:sldMk cId="1651073673" sldId="571"/>
        </pc:sldMkLst>
        <pc:spChg chg="mod">
          <ac:chgData name="Montigny, Laure" userId="5721f8b4-49d2-4481-baac-9422e70a7d32" providerId="ADAL" clId="{118C2996-71A2-4C44-829A-7C147D595BE7}" dt="2019-10-01T09:53:48.685" v="9328" actId="1037"/>
          <ac:spMkLst>
            <pc:docMk/>
            <pc:sldMk cId="1651073673" sldId="571"/>
            <ac:spMk id="56" creationId="{8E49DEEA-DF3B-491E-837B-FB8F092CB41B}"/>
          </ac:spMkLst>
        </pc:spChg>
        <pc:spChg chg="mod">
          <ac:chgData name="Montigny, Laure" userId="5721f8b4-49d2-4481-baac-9422e70a7d32" providerId="ADAL" clId="{118C2996-71A2-4C44-829A-7C147D595BE7}" dt="2019-09-20T09:00:49.492" v="6283" actId="1035"/>
          <ac:spMkLst>
            <pc:docMk/>
            <pc:sldMk cId="1651073673" sldId="571"/>
            <ac:spMk id="57" creationId="{9D98E087-BAD9-445F-8CA1-D524C7F51083}"/>
          </ac:spMkLst>
        </pc:spChg>
        <pc:spChg chg="add del">
          <ac:chgData name="Montigny, Laure" userId="5721f8b4-49d2-4481-baac-9422e70a7d32" providerId="ADAL" clId="{118C2996-71A2-4C44-829A-7C147D595BE7}" dt="2019-10-31T13:25:52.205" v="9503" actId="478"/>
          <ac:spMkLst>
            <pc:docMk/>
            <pc:sldMk cId="1651073673" sldId="571"/>
            <ac:spMk id="58" creationId="{C3568DE1-145F-4364-A060-BD29EE8D7C82}"/>
          </ac:spMkLst>
        </pc:spChg>
        <pc:spChg chg="add">
          <ac:chgData name="Montigny, Laure" userId="5721f8b4-49d2-4481-baac-9422e70a7d32" providerId="ADAL" clId="{118C2996-71A2-4C44-829A-7C147D595BE7}" dt="2019-10-31T13:25:52.736" v="9504"/>
          <ac:spMkLst>
            <pc:docMk/>
            <pc:sldMk cId="1651073673" sldId="571"/>
            <ac:spMk id="61" creationId="{02D10B8E-2EE2-425B-99E4-EAA2BD35FFA6}"/>
          </ac:spMkLst>
        </pc:spChg>
        <pc:spChg chg="mod">
          <ac:chgData name="Montigny, Laure" userId="5721f8b4-49d2-4481-baac-9422e70a7d32" providerId="ADAL" clId="{118C2996-71A2-4C44-829A-7C147D595BE7}" dt="2019-10-11T08:35:55.089" v="9446" actId="6549"/>
          <ac:spMkLst>
            <pc:docMk/>
            <pc:sldMk cId="1651073673" sldId="571"/>
            <ac:spMk id="77" creationId="{9C609CD1-37D6-4D9E-8134-59C3C9EC8AC7}"/>
          </ac:spMkLst>
        </pc:spChg>
        <pc:spChg chg="del mod">
          <ac:chgData name="Montigny, Laure" userId="5721f8b4-49d2-4481-baac-9422e70a7d32" providerId="ADAL" clId="{118C2996-71A2-4C44-829A-7C147D595BE7}" dt="2019-10-10T08:38:42.595" v="9399" actId="478"/>
          <ac:spMkLst>
            <pc:docMk/>
            <pc:sldMk cId="1651073673" sldId="571"/>
            <ac:spMk id="79" creationId="{D971279F-8202-4226-BF3B-0C1D35C873C5}"/>
          </ac:spMkLst>
        </pc:spChg>
        <pc:spChg chg="mod">
          <ac:chgData name="Montigny, Laure" userId="5721f8b4-49d2-4481-baac-9422e70a7d32" providerId="ADAL" clId="{118C2996-71A2-4C44-829A-7C147D595BE7}" dt="2019-09-20T09:00:44.865" v="6278" actId="14100"/>
          <ac:spMkLst>
            <pc:docMk/>
            <pc:sldMk cId="1651073673" sldId="571"/>
            <ac:spMk id="107" creationId="{5B1AE28A-F3CD-4CE8-8E77-134392A30F02}"/>
          </ac:spMkLst>
        </pc:spChg>
        <pc:spChg chg="mod">
          <ac:chgData name="Montigny, Laure" userId="5721f8b4-49d2-4481-baac-9422e70a7d32" providerId="ADAL" clId="{118C2996-71A2-4C44-829A-7C147D595BE7}" dt="2019-09-20T09:00:33.297" v="6272" actId="207"/>
          <ac:spMkLst>
            <pc:docMk/>
            <pc:sldMk cId="1651073673" sldId="571"/>
            <ac:spMk id="108" creationId="{32BB47EF-A9E0-4D56-AACD-FFEBBACF178A}"/>
          </ac:spMkLst>
        </pc:spChg>
      </pc:sldChg>
      <pc:sldChg chg="addSp delSp modSp add">
        <pc:chgData name="Montigny, Laure" userId="5721f8b4-49d2-4481-baac-9422e70a7d32" providerId="ADAL" clId="{118C2996-71A2-4C44-829A-7C147D595BE7}" dt="2019-10-11T08:38:41.994" v="9484"/>
        <pc:sldMkLst>
          <pc:docMk/>
          <pc:sldMk cId="216923696" sldId="572"/>
        </pc:sldMkLst>
        <pc:spChg chg="mod">
          <ac:chgData name="Montigny, Laure" userId="5721f8b4-49d2-4481-baac-9422e70a7d32" providerId="ADAL" clId="{118C2996-71A2-4C44-829A-7C147D595BE7}" dt="2019-09-20T09:39:25.287" v="8355" actId="14100"/>
          <ac:spMkLst>
            <pc:docMk/>
            <pc:sldMk cId="216923696" sldId="572"/>
            <ac:spMk id="55" creationId="{84AB0B88-8FBE-4F73-9460-406699541EDC}"/>
          </ac:spMkLst>
        </pc:spChg>
        <pc:spChg chg="add mod">
          <ac:chgData name="Montigny, Laure" userId="5721f8b4-49d2-4481-baac-9422e70a7d32" providerId="ADAL" clId="{118C2996-71A2-4C44-829A-7C147D595BE7}" dt="2019-10-10T08:40:17.953" v="9438" actId="20577"/>
          <ac:spMkLst>
            <pc:docMk/>
            <pc:sldMk cId="216923696" sldId="572"/>
            <ac:spMk id="57" creationId="{77B9979F-7B4F-4F53-AAB7-A9B779AD87E1}"/>
          </ac:spMkLst>
        </pc:spChg>
        <pc:spChg chg="mod">
          <ac:chgData name="Montigny, Laure" userId="5721f8b4-49d2-4481-baac-9422e70a7d32" providerId="ADAL" clId="{118C2996-71A2-4C44-829A-7C147D595BE7}" dt="2019-09-20T09:39:39.117" v="8376" actId="14100"/>
          <ac:spMkLst>
            <pc:docMk/>
            <pc:sldMk cId="216923696" sldId="572"/>
            <ac:spMk id="59" creationId="{C885F008-4800-4044-A601-42D911FBE549}"/>
          </ac:spMkLst>
        </pc:spChg>
        <pc:spChg chg="mod">
          <ac:chgData name="Montigny, Laure" userId="5721f8b4-49d2-4481-baac-9422e70a7d32" providerId="ADAL" clId="{118C2996-71A2-4C44-829A-7C147D595BE7}" dt="2019-09-20T09:39:20.227" v="8346" actId="14100"/>
          <ac:spMkLst>
            <pc:docMk/>
            <pc:sldMk cId="216923696" sldId="572"/>
            <ac:spMk id="60" creationId="{F3680749-C1D4-456F-90F4-05B22CF55F0A}"/>
          </ac:spMkLst>
        </pc:spChg>
        <pc:spChg chg="del">
          <ac:chgData name="Montigny, Laure" userId="5721f8b4-49d2-4481-baac-9422e70a7d32" providerId="ADAL" clId="{118C2996-71A2-4C44-829A-7C147D595BE7}" dt="2019-09-20T09:40:25.477" v="8401" actId="478"/>
          <ac:spMkLst>
            <pc:docMk/>
            <pc:sldMk cId="216923696" sldId="572"/>
            <ac:spMk id="67" creationId="{97BBB8D5-2519-4804-8C85-BC2E80EAEADB}"/>
          </ac:spMkLst>
        </pc:spChg>
        <pc:spChg chg="add del mod">
          <ac:chgData name="Montigny, Laure" userId="5721f8b4-49d2-4481-baac-9422e70a7d32" providerId="ADAL" clId="{118C2996-71A2-4C44-829A-7C147D595BE7}" dt="2019-10-11T08:38:41.490" v="9483" actId="478"/>
          <ac:spMkLst>
            <pc:docMk/>
            <pc:sldMk cId="216923696" sldId="572"/>
            <ac:spMk id="67" creationId="{9B23119A-AB16-4724-8531-BD4269CC5FF8}"/>
          </ac:spMkLst>
        </pc:spChg>
        <pc:spChg chg="mod">
          <ac:chgData name="Montigny, Laure" userId="5721f8b4-49d2-4481-baac-9422e70a7d32" providerId="ADAL" clId="{118C2996-71A2-4C44-829A-7C147D595BE7}" dt="2019-09-20T09:40:32.870" v="8404" actId="1076"/>
          <ac:spMkLst>
            <pc:docMk/>
            <pc:sldMk cId="216923696" sldId="572"/>
            <ac:spMk id="68" creationId="{7FC864C5-2CC9-4A44-AA31-01DB290CBD84}"/>
          </ac:spMkLst>
        </pc:spChg>
        <pc:spChg chg="mod">
          <ac:chgData name="Montigny, Laure" userId="5721f8b4-49d2-4481-baac-9422e70a7d32" providerId="ADAL" clId="{118C2996-71A2-4C44-829A-7C147D595BE7}" dt="2019-09-20T09:38:55.571" v="8331" actId="1035"/>
          <ac:spMkLst>
            <pc:docMk/>
            <pc:sldMk cId="216923696" sldId="572"/>
            <ac:spMk id="69" creationId="{FD6B989A-08A0-4684-89A4-1FFA2B5B10F9}"/>
          </ac:spMkLst>
        </pc:spChg>
        <pc:spChg chg="mod">
          <ac:chgData name="Montigny, Laure" userId="5721f8b4-49d2-4481-baac-9422e70a7d32" providerId="ADAL" clId="{118C2996-71A2-4C44-829A-7C147D595BE7}" dt="2019-09-20T09:40:29.453" v="8403" actId="1076"/>
          <ac:spMkLst>
            <pc:docMk/>
            <pc:sldMk cId="216923696" sldId="572"/>
            <ac:spMk id="70" creationId="{40CF57C3-3CFC-4C73-B834-01EDFCA8BD88}"/>
          </ac:spMkLst>
        </pc:spChg>
        <pc:spChg chg="add">
          <ac:chgData name="Montigny, Laure" userId="5721f8b4-49d2-4481-baac-9422e70a7d32" providerId="ADAL" clId="{118C2996-71A2-4C44-829A-7C147D595BE7}" dt="2019-10-11T08:38:41.994" v="9484"/>
          <ac:spMkLst>
            <pc:docMk/>
            <pc:sldMk cId="216923696" sldId="572"/>
            <ac:spMk id="74" creationId="{006FCB01-2B6D-4704-A8BC-A85566A1025D}"/>
          </ac:spMkLst>
        </pc:spChg>
        <pc:spChg chg="del">
          <ac:chgData name="Montigny, Laure" userId="5721f8b4-49d2-4481-baac-9422e70a7d32" providerId="ADAL" clId="{118C2996-71A2-4C44-829A-7C147D595BE7}" dt="2019-09-20T09:39:54.821" v="8379" actId="478"/>
          <ac:spMkLst>
            <pc:docMk/>
            <pc:sldMk cId="216923696" sldId="572"/>
            <ac:spMk id="77" creationId="{9C609CD1-37D6-4D9E-8134-59C3C9EC8AC7}"/>
          </ac:spMkLst>
        </pc:spChg>
        <pc:spChg chg="mod">
          <ac:chgData name="Montigny, Laure" userId="5721f8b4-49d2-4481-baac-9422e70a7d32" providerId="ADAL" clId="{118C2996-71A2-4C44-829A-7C147D595BE7}" dt="2019-09-20T09:39:31.210" v="8364" actId="14100"/>
          <ac:spMkLst>
            <pc:docMk/>
            <pc:sldMk cId="216923696" sldId="572"/>
            <ac:spMk id="78" creationId="{52030450-2308-4126-A29F-3356083DD3E5}"/>
          </ac:spMkLst>
        </pc:spChg>
        <pc:spChg chg="del mod">
          <ac:chgData name="Montigny, Laure" userId="5721f8b4-49d2-4481-baac-9422e70a7d32" providerId="ADAL" clId="{118C2996-71A2-4C44-829A-7C147D595BE7}" dt="2019-10-10T08:39:47.354" v="9420" actId="478"/>
          <ac:spMkLst>
            <pc:docMk/>
            <pc:sldMk cId="216923696" sldId="572"/>
            <ac:spMk id="79" creationId="{D971279F-8202-4226-BF3B-0C1D35C873C5}"/>
          </ac:spMkLst>
        </pc:spChg>
        <pc:spChg chg="mod">
          <ac:chgData name="Montigny, Laure" userId="5721f8b4-49d2-4481-baac-9422e70a7d32" providerId="ADAL" clId="{118C2996-71A2-4C44-829A-7C147D595BE7}" dt="2019-09-20T09:39:01.832" v="8332" actId="1076"/>
          <ac:spMkLst>
            <pc:docMk/>
            <pc:sldMk cId="216923696" sldId="572"/>
            <ac:spMk id="106" creationId="{12FBF0CF-9598-4483-A130-E7ACE0CE0BCE}"/>
          </ac:spMkLst>
        </pc:spChg>
        <pc:spChg chg="mod">
          <ac:chgData name="Montigny, Laure" userId="5721f8b4-49d2-4481-baac-9422e70a7d32" providerId="ADAL" clId="{118C2996-71A2-4C44-829A-7C147D595BE7}" dt="2019-10-01T09:57:06.318" v="9370" actId="207"/>
          <ac:spMkLst>
            <pc:docMk/>
            <pc:sldMk cId="216923696" sldId="572"/>
            <ac:spMk id="108" creationId="{32BB47EF-A9E0-4D56-AACD-FFEBBACF178A}"/>
          </ac:spMkLst>
        </pc:spChg>
      </pc:sldChg>
      <pc:sldChg chg="addSp delSp modSp add">
        <pc:chgData name="Montigny, Laure" userId="5721f8b4-49d2-4481-baac-9422e70a7d32" providerId="ADAL" clId="{118C2996-71A2-4C44-829A-7C147D595BE7}" dt="2019-10-11T08:38:37.190" v="9482"/>
        <pc:sldMkLst>
          <pc:docMk/>
          <pc:sldMk cId="4125081957" sldId="573"/>
        </pc:sldMkLst>
        <pc:spChg chg="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55" creationId="{84AB0B88-8FBE-4F73-9460-406699541EDC}"/>
          </ac:spMkLst>
        </pc:spChg>
        <pc:spChg chg="mod">
          <ac:chgData name="Montigny, Laure" userId="5721f8b4-49d2-4481-baac-9422e70a7d32" providerId="ADAL" clId="{118C2996-71A2-4C44-829A-7C147D595BE7}" dt="2019-09-20T12:36:17.645" v="9134" actId="1035"/>
          <ac:spMkLst>
            <pc:docMk/>
            <pc:sldMk cId="4125081957" sldId="573"/>
            <ac:spMk id="56" creationId="{8E49DEEA-DF3B-491E-837B-FB8F092CB41B}"/>
          </ac:spMkLst>
        </pc:spChg>
        <pc:spChg chg="mod">
          <ac:chgData name="Montigny, Laure" userId="5721f8b4-49d2-4481-baac-9422e70a7d32" providerId="ADAL" clId="{118C2996-71A2-4C44-829A-7C147D595BE7}" dt="2019-10-10T08:40:24.788" v="9443" actId="20577"/>
          <ac:spMkLst>
            <pc:docMk/>
            <pc:sldMk cId="4125081957" sldId="573"/>
            <ac:spMk id="57" creationId="{77B9979F-7B4F-4F53-AAB7-A9B779AD87E1}"/>
          </ac:spMkLst>
        </pc:spChg>
        <pc:spChg chg="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59" creationId="{C885F008-4800-4044-A601-42D911FBE549}"/>
          </ac:spMkLst>
        </pc:spChg>
        <pc:spChg chg="mod">
          <ac:chgData name="Montigny, Laure" userId="5721f8b4-49d2-4481-baac-9422e70a7d32" providerId="ADAL" clId="{118C2996-71A2-4C44-829A-7C147D595BE7}" dt="2019-09-20T12:46:25.672" v="9296" actId="1035"/>
          <ac:spMkLst>
            <pc:docMk/>
            <pc:sldMk cId="4125081957" sldId="573"/>
            <ac:spMk id="60" creationId="{F3680749-C1D4-456F-90F4-05B22CF55F0A}"/>
          </ac:spMkLst>
        </pc:spChg>
        <pc:spChg chg="add del">
          <ac:chgData name="Montigny, Laure" userId="5721f8b4-49d2-4481-baac-9422e70a7d32" providerId="ADAL" clId="{118C2996-71A2-4C44-829A-7C147D595BE7}" dt="2019-10-11T08:38:36.802" v="9481" actId="478"/>
          <ac:spMkLst>
            <pc:docMk/>
            <pc:sldMk cId="4125081957" sldId="573"/>
            <ac:spMk id="61" creationId="{3588FB5B-A25E-4A36-ACAE-53D80147D161}"/>
          </ac:spMkLst>
        </pc:spChg>
        <pc:spChg chg="add">
          <ac:chgData name="Montigny, Laure" userId="5721f8b4-49d2-4481-baac-9422e70a7d32" providerId="ADAL" clId="{118C2996-71A2-4C44-829A-7C147D595BE7}" dt="2019-10-11T08:38:37.190" v="9482"/>
          <ac:spMkLst>
            <pc:docMk/>
            <pc:sldMk cId="4125081957" sldId="573"/>
            <ac:spMk id="62" creationId="{D07A8FB4-034A-4186-B547-C9E0A5D40D10}"/>
          </ac:spMkLst>
        </pc:spChg>
        <pc:spChg chg="mod">
          <ac:chgData name="Montigny, Laure" userId="5721f8b4-49d2-4481-baac-9422e70a7d32" providerId="ADAL" clId="{118C2996-71A2-4C44-829A-7C147D595BE7}" dt="2019-09-20T12:46:25.672" v="9296" actId="1035"/>
          <ac:spMkLst>
            <pc:docMk/>
            <pc:sldMk cId="4125081957" sldId="573"/>
            <ac:spMk id="65" creationId="{0E0972D3-011C-4841-8CE3-ABBFC38D752D}"/>
          </ac:spMkLst>
        </pc:spChg>
        <pc:spChg chg="add 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67" creationId="{55B9E03F-E29C-4818-BDBF-BD8FAE702C26}"/>
          </ac:spMkLst>
        </pc:spChg>
        <pc:spChg chg="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69" creationId="{FD6B989A-08A0-4684-89A4-1FFA2B5B10F9}"/>
          </ac:spMkLst>
        </pc:spChg>
        <pc:spChg chg="mod">
          <ac:chgData name="Montigny, Laure" userId="5721f8b4-49d2-4481-baac-9422e70a7d32" providerId="ADAL" clId="{118C2996-71A2-4C44-829A-7C147D595BE7}" dt="2019-10-01T09:56:39.562" v="9366" actId="1076"/>
          <ac:spMkLst>
            <pc:docMk/>
            <pc:sldMk cId="4125081957" sldId="573"/>
            <ac:spMk id="71" creationId="{E540DDE0-3768-4467-8BA1-FFB649E7E353}"/>
          </ac:spMkLst>
        </pc:spChg>
        <pc:spChg chg="add 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74" creationId="{CEAC903A-359D-4722-9A2C-DAF6F58B30CF}"/>
          </ac:spMkLst>
        </pc:spChg>
        <pc:spChg chg="add 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75" creationId="{075162A5-799F-41C2-95C0-C2B2B45C2BA8}"/>
          </ac:spMkLst>
        </pc:spChg>
        <pc:spChg chg="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78" creationId="{52030450-2308-4126-A29F-3356083DD3E5}"/>
          </ac:spMkLst>
        </pc:spChg>
        <pc:spChg chg="del mod">
          <ac:chgData name="Montigny, Laure" userId="5721f8b4-49d2-4481-baac-9422e70a7d32" providerId="ADAL" clId="{118C2996-71A2-4C44-829A-7C147D595BE7}" dt="2019-10-10T08:40:03.465" v="9431" actId="478"/>
          <ac:spMkLst>
            <pc:docMk/>
            <pc:sldMk cId="4125081957" sldId="573"/>
            <ac:spMk id="79" creationId="{D971279F-8202-4226-BF3B-0C1D35C873C5}"/>
          </ac:spMkLst>
        </pc:spChg>
        <pc:spChg chg="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106" creationId="{12FBF0CF-9598-4483-A130-E7ACE0CE0BCE}"/>
          </ac:spMkLst>
        </pc:spChg>
        <pc:spChg chg="mod">
          <ac:chgData name="Montigny, Laure" userId="5721f8b4-49d2-4481-baac-9422e70a7d32" providerId="ADAL" clId="{118C2996-71A2-4C44-829A-7C147D595BE7}" dt="2019-10-01T09:56:30.302" v="9363" actId="14100"/>
          <ac:spMkLst>
            <pc:docMk/>
            <pc:sldMk cId="4125081957" sldId="573"/>
            <ac:spMk id="107" creationId="{5B1AE28A-F3CD-4CE8-8E77-134392A30F02}"/>
          </ac:spMkLst>
        </pc:spChg>
        <pc:spChg chg="mod">
          <ac:chgData name="Montigny, Laure" userId="5721f8b4-49d2-4481-baac-9422e70a7d32" providerId="ADAL" clId="{118C2996-71A2-4C44-829A-7C147D595BE7}" dt="2019-10-01T09:56:34.993" v="9365" actId="1076"/>
          <ac:spMkLst>
            <pc:docMk/>
            <pc:sldMk cId="4125081957" sldId="573"/>
            <ac:spMk id="108" creationId="{32BB47EF-A9E0-4D56-AACD-FFEBBACF178A}"/>
          </ac:spMkLst>
        </pc:spChg>
        <pc:picChg chg="del">
          <ac:chgData name="Montigny, Laure" userId="5721f8b4-49d2-4481-baac-9422e70a7d32" providerId="ADAL" clId="{118C2996-71A2-4C44-829A-7C147D595BE7}" dt="2019-09-20T09:48:54.066" v="8610" actId="478"/>
          <ac:picMkLst>
            <pc:docMk/>
            <pc:sldMk cId="4125081957" sldId="573"/>
            <ac:picMk id="61" creationId="{1CF2C00C-DB96-41B9-8177-17F42D62298A}"/>
          </ac:picMkLst>
        </pc:picChg>
        <pc:picChg chg="del">
          <ac:chgData name="Montigny, Laure" userId="5721f8b4-49d2-4481-baac-9422e70a7d32" providerId="ADAL" clId="{118C2996-71A2-4C44-829A-7C147D595BE7}" dt="2019-09-20T09:48:54.066" v="8610" actId="478"/>
          <ac:picMkLst>
            <pc:docMk/>
            <pc:sldMk cId="4125081957" sldId="573"/>
            <ac:picMk id="62" creationId="{4280DBF4-D6B2-4FF0-8C48-939F5341DB16}"/>
          </ac:picMkLst>
        </pc:picChg>
        <pc:picChg chg="del">
          <ac:chgData name="Montigny, Laure" userId="5721f8b4-49d2-4481-baac-9422e70a7d32" providerId="ADAL" clId="{118C2996-71A2-4C44-829A-7C147D595BE7}" dt="2019-09-20T09:48:54.066" v="8610" actId="478"/>
          <ac:picMkLst>
            <pc:docMk/>
            <pc:sldMk cId="4125081957" sldId="573"/>
            <ac:picMk id="63" creationId="{4D9C641D-1973-4F6B-B577-24847300206C}"/>
          </ac:picMkLst>
        </pc:picChg>
        <pc:picChg chg="del">
          <ac:chgData name="Montigny, Laure" userId="5721f8b4-49d2-4481-baac-9422e70a7d32" providerId="ADAL" clId="{118C2996-71A2-4C44-829A-7C147D595BE7}" dt="2019-09-20T09:48:54.066" v="8610" actId="478"/>
          <ac:picMkLst>
            <pc:docMk/>
            <pc:sldMk cId="4125081957" sldId="573"/>
            <ac:picMk id="64" creationId="{BECE2216-AACE-4165-9322-3FBA95B6E1BF}"/>
          </ac:picMkLst>
        </pc:picChg>
        <pc:picChg chg="del">
          <ac:chgData name="Montigny, Laure" userId="5721f8b4-49d2-4481-baac-9422e70a7d32" providerId="ADAL" clId="{118C2996-71A2-4C44-829A-7C147D595BE7}" dt="2019-09-20T09:48:54.066" v="8610" actId="478"/>
          <ac:picMkLst>
            <pc:docMk/>
            <pc:sldMk cId="4125081957" sldId="573"/>
            <ac:picMk id="66" creationId="{767E6A89-1CAC-464F-9F5C-A08B997A754D}"/>
          </ac:picMkLst>
        </pc:picChg>
      </pc:sldChg>
      <pc:sldMasterChg chg="addSp delSp modSp">
        <pc:chgData name="Montigny, Laure" userId="5721f8b4-49d2-4481-baac-9422e70a7d32" providerId="ADAL" clId="{118C2996-71A2-4C44-829A-7C147D595BE7}" dt="2019-09-19T15:13:01.887" v="5676" actId="207"/>
        <pc:sldMasterMkLst>
          <pc:docMk/>
          <pc:sldMasterMk cId="1762778664" sldId="2147483671"/>
        </pc:sldMasterMkLst>
        <pc:spChg chg="del">
          <ac:chgData name="Montigny, Laure" userId="5721f8b4-49d2-4481-baac-9422e70a7d32" providerId="ADAL" clId="{118C2996-71A2-4C44-829A-7C147D595BE7}" dt="2019-09-03T13:23:16.327" v="0" actId="478"/>
          <ac:spMkLst>
            <pc:docMk/>
            <pc:sldMasterMk cId="1762778664" sldId="2147483671"/>
            <ac:spMk id="6" creationId="{AEAC6FFC-697C-4DA0-B50A-9E922D8C3BE7}"/>
          </ac:spMkLst>
        </pc:spChg>
        <pc:spChg chg="mod">
          <ac:chgData name="Montigny, Laure" userId="5721f8b4-49d2-4481-baac-9422e70a7d32" providerId="ADAL" clId="{118C2996-71A2-4C44-829A-7C147D595BE7}" dt="2019-09-19T15:13:01.887" v="5676" actId="207"/>
          <ac:spMkLst>
            <pc:docMk/>
            <pc:sldMasterMk cId="1762778664" sldId="2147483671"/>
            <ac:spMk id="7" creationId="{D7FFA983-8B9D-4789-A349-C069295FC92D}"/>
          </ac:spMkLst>
        </pc:spChg>
        <pc:picChg chg="add del mod ord modCrop">
          <ac:chgData name="Montigny, Laure" userId="5721f8b4-49d2-4481-baac-9422e70a7d32" providerId="ADAL" clId="{118C2996-71A2-4C44-829A-7C147D595BE7}" dt="2019-09-19T14:50:27.029" v="5195" actId="478"/>
          <ac:picMkLst>
            <pc:docMk/>
            <pc:sldMasterMk cId="1762778664" sldId="2147483671"/>
            <ac:picMk id="3" creationId="{C1EF8386-07CF-4F76-B0D0-0E479EBDA8D4}"/>
          </ac:picMkLst>
        </pc:picChg>
        <pc:picChg chg="add del mod ord modCrop">
          <ac:chgData name="Montigny, Laure" userId="5721f8b4-49d2-4481-baac-9422e70a7d32" providerId="ADAL" clId="{118C2996-71A2-4C44-829A-7C147D595BE7}" dt="2019-09-19T15:12:33.128" v="5667" actId="478"/>
          <ac:picMkLst>
            <pc:docMk/>
            <pc:sldMasterMk cId="1762778664" sldId="2147483671"/>
            <ac:picMk id="4" creationId="{04B233E3-AB82-4CC2-AC94-0EB0068DE611}"/>
          </ac:picMkLst>
        </pc:picChg>
        <pc:picChg chg="add del mod">
          <ac:chgData name="Montigny, Laure" userId="5721f8b4-49d2-4481-baac-9422e70a7d32" providerId="ADAL" clId="{118C2996-71A2-4C44-829A-7C147D595BE7}" dt="2019-09-04T08:11:06.958" v="820" actId="478"/>
          <ac:picMkLst>
            <pc:docMk/>
            <pc:sldMasterMk cId="1762778664" sldId="2147483671"/>
            <ac:picMk id="5" creationId="{1F348FB1-AE56-4627-8B1B-A4F228D8F7FD}"/>
          </ac:picMkLst>
        </pc:picChg>
        <pc:picChg chg="add del mod">
          <ac:chgData name="Montigny, Laure" userId="5721f8b4-49d2-4481-baac-9422e70a7d32" providerId="ADAL" clId="{118C2996-71A2-4C44-829A-7C147D595BE7}" dt="2019-09-04T08:13:16.436" v="854" actId="478"/>
          <ac:picMkLst>
            <pc:docMk/>
            <pc:sldMasterMk cId="1762778664" sldId="2147483671"/>
            <ac:picMk id="6" creationId="{47FEDA4B-61D2-42D7-B8AD-EC0345AC4704}"/>
          </ac:picMkLst>
        </pc:picChg>
        <pc:picChg chg="add del mod">
          <ac:chgData name="Montigny, Laure" userId="5721f8b4-49d2-4481-baac-9422e70a7d32" providerId="ADAL" clId="{118C2996-71A2-4C44-829A-7C147D595BE7}" dt="2019-09-19T14:57:50.151" v="5206" actId="478"/>
          <ac:picMkLst>
            <pc:docMk/>
            <pc:sldMasterMk cId="1762778664" sldId="2147483671"/>
            <ac:picMk id="6" creationId="{57C31D42-8A3B-42B2-8372-497379CA1121}"/>
          </ac:picMkLst>
        </pc:picChg>
        <pc:picChg chg="add del mod">
          <ac:chgData name="Montigny, Laure" userId="5721f8b4-49d2-4481-baac-9422e70a7d32" providerId="ADAL" clId="{118C2996-71A2-4C44-829A-7C147D595BE7}" dt="2019-09-04T08:13:05.540" v="851" actId="478"/>
          <ac:picMkLst>
            <pc:docMk/>
            <pc:sldMasterMk cId="1762778664" sldId="2147483671"/>
            <ac:picMk id="8" creationId="{9AB0F6A3-A6D4-4AB0-920B-97F4ADE33DF0}"/>
          </ac:picMkLst>
        </pc:picChg>
        <pc:picChg chg="add mod ord">
          <ac:chgData name="Montigny, Laure" userId="5721f8b4-49d2-4481-baac-9422e70a7d32" providerId="ADAL" clId="{118C2996-71A2-4C44-829A-7C147D595BE7}" dt="2019-09-19T15:12:54.358" v="5672" actId="167"/>
          <ac:picMkLst>
            <pc:docMk/>
            <pc:sldMasterMk cId="1762778664" sldId="2147483671"/>
            <ac:picMk id="10" creationId="{DC669805-A0B0-450F-8856-8DF11C25D3EB}"/>
          </ac:picMkLst>
        </pc:picChg>
      </pc:sldMasterChg>
      <pc:sldMasterChg chg="addSp delSp modSp">
        <pc:chgData name="Montigny, Laure" userId="5721f8b4-49d2-4481-baac-9422e70a7d32" providerId="ADAL" clId="{118C2996-71A2-4C44-829A-7C147D595BE7}" dt="2019-09-04T08:13:45.056" v="859" actId="478"/>
        <pc:sldMasterMkLst>
          <pc:docMk/>
          <pc:sldMasterMk cId="2284074919" sldId="2147483735"/>
        </pc:sldMasterMkLst>
        <pc:picChg chg="add del mod ord modCrop">
          <ac:chgData name="Montigny, Laure" userId="5721f8b4-49d2-4481-baac-9422e70a7d32" providerId="ADAL" clId="{118C2996-71A2-4C44-829A-7C147D595BE7}" dt="2019-09-03T13:32:08.316" v="99" actId="478"/>
          <ac:picMkLst>
            <pc:docMk/>
            <pc:sldMasterMk cId="2284074919" sldId="2147483735"/>
            <ac:picMk id="3" creationId="{02D112D6-F1D1-4856-9558-7BBAB87CFD1F}"/>
          </ac:picMkLst>
        </pc:picChg>
        <pc:picChg chg="add mod ord modCrop">
          <ac:chgData name="Montigny, Laure" userId="5721f8b4-49d2-4481-baac-9422e70a7d32" providerId="ADAL" clId="{118C2996-71A2-4C44-829A-7C147D595BE7}" dt="2019-09-04T08:10:59.451" v="818" actId="167"/>
          <ac:picMkLst>
            <pc:docMk/>
            <pc:sldMasterMk cId="2284074919" sldId="2147483735"/>
            <ac:picMk id="3" creationId="{D86E713C-BD27-4F1F-A3BC-E074ECC2FC81}"/>
          </ac:picMkLst>
        </pc:picChg>
        <pc:picChg chg="del">
          <ac:chgData name="Montigny, Laure" userId="5721f8b4-49d2-4481-baac-9422e70a7d32" providerId="ADAL" clId="{118C2996-71A2-4C44-829A-7C147D595BE7}" dt="2019-09-03T13:29:00.632" v="61" actId="478"/>
          <ac:picMkLst>
            <pc:docMk/>
            <pc:sldMasterMk cId="2284074919" sldId="2147483735"/>
            <ac:picMk id="5" creationId="{1F348FB1-AE56-4627-8B1B-A4F228D8F7FD}"/>
          </ac:picMkLst>
        </pc:picChg>
        <pc:picChg chg="add del mod">
          <ac:chgData name="Montigny, Laure" userId="5721f8b4-49d2-4481-baac-9422e70a7d32" providerId="ADAL" clId="{118C2996-71A2-4C44-829A-7C147D595BE7}" dt="2019-09-04T08:11:01.325" v="819" actId="478"/>
          <ac:picMkLst>
            <pc:docMk/>
            <pc:sldMasterMk cId="2284074919" sldId="2147483735"/>
            <ac:picMk id="5" creationId="{F7797C6A-5D60-42BA-8000-8A549595709C}"/>
          </ac:picMkLst>
        </pc:picChg>
        <pc:picChg chg="add del mod">
          <ac:chgData name="Montigny, Laure" userId="5721f8b4-49d2-4481-baac-9422e70a7d32" providerId="ADAL" clId="{118C2996-71A2-4C44-829A-7C147D595BE7}" dt="2019-09-04T08:10:18.392" v="806" actId="478"/>
          <ac:picMkLst>
            <pc:docMk/>
            <pc:sldMasterMk cId="2284074919" sldId="2147483735"/>
            <ac:picMk id="8" creationId="{3676E63C-FCDF-4F6E-A4F1-6734CE9C9771}"/>
          </ac:picMkLst>
        </pc:picChg>
        <pc:picChg chg="add del mod">
          <ac:chgData name="Montigny, Laure" userId="5721f8b4-49d2-4481-baac-9422e70a7d32" providerId="ADAL" clId="{118C2996-71A2-4C44-829A-7C147D595BE7}" dt="2019-09-03T13:36:32.883" v="289" actId="478"/>
          <ac:picMkLst>
            <pc:docMk/>
            <pc:sldMasterMk cId="2284074919" sldId="2147483735"/>
            <ac:picMk id="8" creationId="{5198FDA9-98C0-4715-A918-807E00E38F91}"/>
          </ac:picMkLst>
        </pc:picChg>
        <pc:picChg chg="add del mod">
          <ac:chgData name="Montigny, Laure" userId="5721f8b4-49d2-4481-baac-9422e70a7d32" providerId="ADAL" clId="{118C2996-71A2-4C44-829A-7C147D595BE7}" dt="2019-09-04T08:08:02.946" v="780" actId="478"/>
          <ac:picMkLst>
            <pc:docMk/>
            <pc:sldMasterMk cId="2284074919" sldId="2147483735"/>
            <ac:picMk id="10" creationId="{63B461D7-22E5-4699-9238-8F9A84CE9DB6}"/>
          </ac:picMkLst>
        </pc:picChg>
        <pc:picChg chg="add del mod ord">
          <ac:chgData name="Montigny, Laure" userId="5721f8b4-49d2-4481-baac-9422e70a7d32" providerId="ADAL" clId="{118C2996-71A2-4C44-829A-7C147D595BE7}" dt="2019-09-04T08:10:34.396" v="812" actId="478"/>
          <ac:picMkLst>
            <pc:docMk/>
            <pc:sldMasterMk cId="2284074919" sldId="2147483735"/>
            <ac:picMk id="11" creationId="{AA10C208-4587-4870-8A48-99ED26314498}"/>
          </ac:picMkLst>
        </pc:picChg>
        <pc:picChg chg="add del mod">
          <ac:chgData name="Montigny, Laure" userId="5721f8b4-49d2-4481-baac-9422e70a7d32" providerId="ADAL" clId="{118C2996-71A2-4C44-829A-7C147D595BE7}" dt="2019-09-04T08:13:45.056" v="859" actId="478"/>
          <ac:picMkLst>
            <pc:docMk/>
            <pc:sldMasterMk cId="2284074919" sldId="2147483735"/>
            <ac:picMk id="12" creationId="{279487E9-264A-4CCE-98CF-F68CCB596049}"/>
          </ac:picMkLst>
        </pc:picChg>
      </pc:sldMasterChg>
      <pc:sldMasterChg chg="addSp delSp modSp">
        <pc:chgData name="Montigny, Laure" userId="5721f8b4-49d2-4481-baac-9422e70a7d32" providerId="ADAL" clId="{118C2996-71A2-4C44-829A-7C147D595BE7}" dt="2019-09-04T08:15:35.937" v="877" actId="14100"/>
        <pc:sldMasterMkLst>
          <pc:docMk/>
          <pc:sldMasterMk cId="4057876205" sldId="2147483737"/>
        </pc:sldMasterMkLst>
        <pc:picChg chg="add mod modCrop">
          <ac:chgData name="Montigny, Laure" userId="5721f8b4-49d2-4481-baac-9422e70a7d32" providerId="ADAL" clId="{118C2996-71A2-4C44-829A-7C147D595BE7}" dt="2019-09-04T08:15:35.937" v="877" actId="14100"/>
          <ac:picMkLst>
            <pc:docMk/>
            <pc:sldMasterMk cId="4057876205" sldId="2147483737"/>
            <ac:picMk id="3" creationId="{65F46A25-8568-4261-A470-F8EC33E9DC88}"/>
          </ac:picMkLst>
        </pc:picChg>
        <pc:picChg chg="add del mod ord modCrop">
          <ac:chgData name="Montigny, Laure" userId="5721f8b4-49d2-4481-baac-9422e70a7d32" providerId="ADAL" clId="{118C2996-71A2-4C44-829A-7C147D595BE7}" dt="2019-09-03T13:36:36.045" v="290" actId="478"/>
          <ac:picMkLst>
            <pc:docMk/>
            <pc:sldMasterMk cId="4057876205" sldId="2147483737"/>
            <ac:picMk id="3" creationId="{A269CF45-7BAD-4A0B-BE6D-58463FE417F5}"/>
          </ac:picMkLst>
        </pc:picChg>
        <pc:picChg chg="del">
          <ac:chgData name="Montigny, Laure" userId="5721f8b4-49d2-4481-baac-9422e70a7d32" providerId="ADAL" clId="{118C2996-71A2-4C44-829A-7C147D595BE7}" dt="2019-09-03T13:29:29.620" v="65" actId="478"/>
          <ac:picMkLst>
            <pc:docMk/>
            <pc:sldMasterMk cId="4057876205" sldId="2147483737"/>
            <ac:picMk id="5" creationId="{1F348FB1-AE56-4627-8B1B-A4F228D8F7FD}"/>
          </ac:picMkLst>
        </pc:picChg>
        <pc:picChg chg="add del">
          <ac:chgData name="Montigny, Laure" userId="5721f8b4-49d2-4481-baac-9422e70a7d32" providerId="ADAL" clId="{118C2996-71A2-4C44-829A-7C147D595BE7}" dt="2019-09-04T08:13:56.671" v="860" actId="478"/>
          <ac:picMkLst>
            <pc:docMk/>
            <pc:sldMasterMk cId="4057876205" sldId="2147483737"/>
            <ac:picMk id="5" creationId="{9174A5CA-B21E-4A42-B298-28A9503292DA}"/>
          </ac:picMkLst>
        </pc:picChg>
        <pc:picChg chg="add del mod">
          <ac:chgData name="Montigny, Laure" userId="5721f8b4-49d2-4481-baac-9422e70a7d32" providerId="ADAL" clId="{118C2996-71A2-4C44-829A-7C147D595BE7}" dt="2019-09-04T08:15:00.028" v="872" actId="478"/>
          <ac:picMkLst>
            <pc:docMk/>
            <pc:sldMasterMk cId="4057876205" sldId="2147483737"/>
            <ac:picMk id="8" creationId="{051680CC-4063-4FA1-90A0-29D6929F3A2B}"/>
          </ac:picMkLst>
        </pc:picChg>
        <pc:picChg chg="add del ord">
          <ac:chgData name="Montigny, Laure" userId="5721f8b4-49d2-4481-baac-9422e70a7d32" providerId="ADAL" clId="{118C2996-71A2-4C44-829A-7C147D595BE7}" dt="2019-09-03T13:30:36.019" v="82" actId="478"/>
          <ac:picMkLst>
            <pc:docMk/>
            <pc:sldMasterMk cId="4057876205" sldId="2147483737"/>
            <ac:picMk id="8" creationId="{253FE665-438A-4F14-9947-D1D24CD21686}"/>
          </ac:picMkLst>
        </pc:picChg>
        <pc:picChg chg="add del mod">
          <ac:chgData name="Montigny, Laure" userId="5721f8b4-49d2-4481-baac-9422e70a7d32" providerId="ADAL" clId="{118C2996-71A2-4C44-829A-7C147D595BE7}" dt="2019-09-04T08:08:05.652" v="781" actId="478"/>
          <ac:picMkLst>
            <pc:docMk/>
            <pc:sldMasterMk cId="4057876205" sldId="2147483737"/>
            <ac:picMk id="10" creationId="{FBE96D3E-B7EC-43E1-B53B-A6EAD5C225A8}"/>
          </ac:picMkLst>
        </pc:picChg>
      </pc:sldMasterChg>
      <pc:sldMasterChg chg="addSp delSp modSp">
        <pc:chgData name="Montigny, Laure" userId="5721f8b4-49d2-4481-baac-9422e70a7d32" providerId="ADAL" clId="{118C2996-71A2-4C44-829A-7C147D595BE7}" dt="2019-09-04T08:17:31.549" v="899" actId="14100"/>
        <pc:sldMasterMkLst>
          <pc:docMk/>
          <pc:sldMasterMk cId="371478550" sldId="2147483739"/>
        </pc:sldMasterMkLst>
        <pc:picChg chg="add mod ord modCrop">
          <ac:chgData name="Montigny, Laure" userId="5721f8b4-49d2-4481-baac-9422e70a7d32" providerId="ADAL" clId="{118C2996-71A2-4C44-829A-7C147D595BE7}" dt="2019-09-04T08:17:31.549" v="899" actId="14100"/>
          <ac:picMkLst>
            <pc:docMk/>
            <pc:sldMasterMk cId="371478550" sldId="2147483739"/>
            <ac:picMk id="3" creationId="{4391B372-61EB-471E-8840-6CF7559D3BB8}"/>
          </ac:picMkLst>
        </pc:picChg>
        <pc:picChg chg="add del">
          <ac:chgData name="Montigny, Laure" userId="5721f8b4-49d2-4481-baac-9422e70a7d32" providerId="ADAL" clId="{118C2996-71A2-4C44-829A-7C147D595BE7}" dt="2019-09-04T08:15:47.374" v="878" actId="478"/>
          <ac:picMkLst>
            <pc:docMk/>
            <pc:sldMasterMk cId="371478550" sldId="2147483739"/>
            <ac:picMk id="5" creationId="{96D78811-344D-4A27-BC38-1F783E37CFA0}"/>
          </ac:picMkLst>
        </pc:picChg>
        <pc:picChg chg="add del mod">
          <ac:chgData name="Montigny, Laure" userId="5721f8b4-49d2-4481-baac-9422e70a7d32" providerId="ADAL" clId="{118C2996-71A2-4C44-829A-7C147D595BE7}" dt="2019-09-04T08:17:14.870" v="895" actId="478"/>
          <ac:picMkLst>
            <pc:docMk/>
            <pc:sldMasterMk cId="371478550" sldId="2147483739"/>
            <ac:picMk id="6" creationId="{2961CEEE-E560-430E-B12D-8325EEE9F357}"/>
          </ac:picMkLst>
        </pc:picChg>
        <pc:picChg chg="del mod">
          <ac:chgData name="Montigny, Laure" userId="5721f8b4-49d2-4481-baac-9422e70a7d32" providerId="ADAL" clId="{118C2996-71A2-4C44-829A-7C147D595BE7}" dt="2019-09-04T08:08:08.345" v="782" actId="478"/>
          <ac:picMkLst>
            <pc:docMk/>
            <pc:sldMasterMk cId="371478550" sldId="2147483739"/>
            <ac:picMk id="10" creationId="{FBE96D3E-B7EC-43E1-B53B-A6EAD5C225A8}"/>
          </ac:picMkLst>
        </pc:picChg>
      </pc:sldMasterChg>
      <pc:sldMasterChg chg="addSp delSp modSp">
        <pc:chgData name="Montigny, Laure" userId="5721f8b4-49d2-4481-baac-9422e70a7d32" providerId="ADAL" clId="{118C2996-71A2-4C44-829A-7C147D595BE7}" dt="2019-10-01T09:57:58.258" v="9378" actId="14100"/>
        <pc:sldMasterMkLst>
          <pc:docMk/>
          <pc:sldMasterMk cId="3277858829" sldId="2147483741"/>
        </pc:sldMasterMkLst>
        <pc:spChg chg="add mod">
          <ac:chgData name="Montigny, Laure" userId="5721f8b4-49d2-4481-baac-9422e70a7d32" providerId="ADAL" clId="{118C2996-71A2-4C44-829A-7C147D595BE7}" dt="2019-09-20T12:46:06.159" v="9294" actId="1037"/>
          <ac:spMkLst>
            <pc:docMk/>
            <pc:sldMasterMk cId="3277858829" sldId="2147483741"/>
            <ac:spMk id="11" creationId="{0EFEF0A4-F89C-42EA-9381-C42F3D5F077F}"/>
          </ac:spMkLst>
        </pc:spChg>
        <pc:picChg chg="add del mod modCrop">
          <ac:chgData name="Montigny, Laure" userId="5721f8b4-49d2-4481-baac-9422e70a7d32" providerId="ADAL" clId="{118C2996-71A2-4C44-829A-7C147D595BE7}" dt="2019-10-01T09:50:55.200" v="9308" actId="478"/>
          <ac:picMkLst>
            <pc:docMk/>
            <pc:sldMasterMk cId="3277858829" sldId="2147483741"/>
            <ac:picMk id="3" creationId="{A03B33AD-A4F1-4B5F-917C-19D73A8506BC}"/>
          </ac:picMkLst>
        </pc:picChg>
        <pc:picChg chg="add mod modCrop">
          <ac:chgData name="Montigny, Laure" userId="5721f8b4-49d2-4481-baac-9422e70a7d32" providerId="ADAL" clId="{118C2996-71A2-4C44-829A-7C147D595BE7}" dt="2019-10-01T09:57:58.258" v="9378" actId="14100"/>
          <ac:picMkLst>
            <pc:docMk/>
            <pc:sldMasterMk cId="3277858829" sldId="2147483741"/>
            <ac:picMk id="4" creationId="{9292E39C-BCD3-4AC6-9AF7-C50BD136FE30}"/>
          </ac:picMkLst>
        </pc:picChg>
        <pc:picChg chg="add del mod modCrop">
          <ac:chgData name="Montigny, Laure" userId="5721f8b4-49d2-4481-baac-9422e70a7d32" providerId="ADAL" clId="{118C2996-71A2-4C44-829A-7C147D595BE7}" dt="2019-10-01T09:51:31.339" v="9313" actId="478"/>
          <ac:picMkLst>
            <pc:docMk/>
            <pc:sldMasterMk cId="3277858829" sldId="2147483741"/>
            <ac:picMk id="5" creationId="{7EAC53AA-D0A4-4349-A432-3C8181A723A2}"/>
          </ac:picMkLst>
        </pc:picChg>
        <pc:picChg chg="del mod">
          <ac:chgData name="Montigny, Laure" userId="5721f8b4-49d2-4481-baac-9422e70a7d32" providerId="ADAL" clId="{118C2996-71A2-4C44-829A-7C147D595BE7}" dt="2019-09-20T08:57:40.859" v="6231" actId="478"/>
          <ac:picMkLst>
            <pc:docMk/>
            <pc:sldMasterMk cId="3277858829" sldId="2147483741"/>
            <ac:picMk id="10" creationId="{DC669805-A0B0-450F-8856-8DF11C25D3EB}"/>
          </ac:picMkLst>
        </pc:picChg>
      </pc:sldMasterChg>
    </pc:docChg>
  </pc:docChgLst>
  <pc:docChgLst>
    <pc:chgData name="Lenoir, Marc" userId="fa9e80f1-309d-4401-b816-85836dfec125" providerId="ADAL" clId="{442F5FBA-54A3-4F6A-8EF1-2E05EADE12CB}"/>
    <pc:docChg chg="undo custSel modSld">
      <pc:chgData name="Lenoir, Marc" userId="fa9e80f1-309d-4401-b816-85836dfec125" providerId="ADAL" clId="{442F5FBA-54A3-4F6A-8EF1-2E05EADE12CB}" dt="2020-01-07T14:53:44.394" v="90" actId="1076"/>
      <pc:docMkLst>
        <pc:docMk/>
      </pc:docMkLst>
      <pc:sldChg chg="addSp modSp">
        <pc:chgData name="Lenoir, Marc" userId="fa9e80f1-309d-4401-b816-85836dfec125" providerId="ADAL" clId="{442F5FBA-54A3-4F6A-8EF1-2E05EADE12CB}" dt="2020-01-07T14:49:01.273" v="28" actId="1076"/>
        <pc:sldMkLst>
          <pc:docMk/>
          <pc:sldMk cId="2291983689" sldId="568"/>
        </pc:sldMkLst>
        <pc:spChg chg="add mod">
          <ac:chgData name="Lenoir, Marc" userId="fa9e80f1-309d-4401-b816-85836dfec125" providerId="ADAL" clId="{442F5FBA-54A3-4F6A-8EF1-2E05EADE12CB}" dt="2020-01-07T14:49:01.273" v="28" actId="1076"/>
          <ac:spMkLst>
            <pc:docMk/>
            <pc:sldMk cId="2291983689" sldId="568"/>
            <ac:spMk id="37" creationId="{38185ABE-8565-4481-B6B2-B1F75E1A1390}"/>
          </ac:spMkLst>
        </pc:spChg>
        <pc:spChg chg="mod">
          <ac:chgData name="Lenoir, Marc" userId="fa9e80f1-309d-4401-b816-85836dfec125" providerId="ADAL" clId="{442F5FBA-54A3-4F6A-8EF1-2E05EADE12CB}" dt="2020-01-07T14:48:54.707" v="26" actId="1076"/>
          <ac:spMkLst>
            <pc:docMk/>
            <pc:sldMk cId="2291983689" sldId="568"/>
            <ac:spMk id="59" creationId="{C885F008-4800-4044-A601-42D911FBE549}"/>
          </ac:spMkLst>
        </pc:spChg>
        <pc:spChg chg="mod">
          <ac:chgData name="Lenoir, Marc" userId="fa9e80f1-309d-4401-b816-85836dfec125" providerId="ADAL" clId="{442F5FBA-54A3-4F6A-8EF1-2E05EADE12CB}" dt="2020-01-07T14:48:58.525" v="27" actId="1076"/>
          <ac:spMkLst>
            <pc:docMk/>
            <pc:sldMk cId="2291983689" sldId="568"/>
            <ac:spMk id="106" creationId="{12FBF0CF-9598-4483-A130-E7ACE0CE0BCE}"/>
          </ac:spMkLst>
        </pc:spChg>
      </pc:sldChg>
      <pc:sldChg chg="modSp">
        <pc:chgData name="Lenoir, Marc" userId="fa9e80f1-309d-4401-b816-85836dfec125" providerId="ADAL" clId="{442F5FBA-54A3-4F6A-8EF1-2E05EADE12CB}" dt="2020-01-07T14:48:14.674" v="4" actId="27636"/>
        <pc:sldMkLst>
          <pc:docMk/>
          <pc:sldMk cId="1221265270" sldId="569"/>
        </pc:sldMkLst>
        <pc:spChg chg="mod">
          <ac:chgData name="Lenoir, Marc" userId="fa9e80f1-309d-4401-b816-85836dfec125" providerId="ADAL" clId="{442F5FBA-54A3-4F6A-8EF1-2E05EADE12CB}" dt="2020-01-07T14:48:14.674" v="4" actId="27636"/>
          <ac:spMkLst>
            <pc:docMk/>
            <pc:sldMk cId="1221265270" sldId="569"/>
            <ac:spMk id="56" creationId="{8E49DEEA-DF3B-491E-837B-FB8F092CB41B}"/>
          </ac:spMkLst>
        </pc:spChg>
      </pc:sldChg>
      <pc:sldChg chg="addSp modSp">
        <pc:chgData name="Lenoir, Marc" userId="fa9e80f1-309d-4401-b816-85836dfec125" providerId="ADAL" clId="{442F5FBA-54A3-4F6A-8EF1-2E05EADE12CB}" dt="2020-01-07T14:51:33.288" v="69" actId="1076"/>
        <pc:sldMkLst>
          <pc:docMk/>
          <pc:sldMk cId="2923988817" sldId="570"/>
        </pc:sldMkLst>
        <pc:spChg chg="add mod">
          <ac:chgData name="Lenoir, Marc" userId="fa9e80f1-309d-4401-b816-85836dfec125" providerId="ADAL" clId="{442F5FBA-54A3-4F6A-8EF1-2E05EADE12CB}" dt="2020-01-07T14:51:33.288" v="69" actId="1076"/>
          <ac:spMkLst>
            <pc:docMk/>
            <pc:sldMk cId="2923988817" sldId="570"/>
            <ac:spMk id="39" creationId="{42C66B5A-0F85-4246-AC19-C37D17F26610}"/>
          </ac:spMkLst>
        </pc:spChg>
        <pc:spChg chg="mod">
          <ac:chgData name="Lenoir, Marc" userId="fa9e80f1-309d-4401-b816-85836dfec125" providerId="ADAL" clId="{442F5FBA-54A3-4F6A-8EF1-2E05EADE12CB}" dt="2020-01-07T14:49:48.980" v="31" actId="1076"/>
          <ac:spMkLst>
            <pc:docMk/>
            <pc:sldMk cId="2923988817" sldId="570"/>
            <ac:spMk id="55" creationId="{84AB0B88-8FBE-4F73-9460-406699541EDC}"/>
          </ac:spMkLst>
        </pc:spChg>
        <pc:spChg chg="mod">
          <ac:chgData name="Lenoir, Marc" userId="fa9e80f1-309d-4401-b816-85836dfec125" providerId="ADAL" clId="{442F5FBA-54A3-4F6A-8EF1-2E05EADE12CB}" dt="2020-01-07T14:49:48.980" v="31" actId="1076"/>
          <ac:spMkLst>
            <pc:docMk/>
            <pc:sldMk cId="2923988817" sldId="570"/>
            <ac:spMk id="59" creationId="{C885F008-4800-4044-A601-42D911FBE549}"/>
          </ac:spMkLst>
        </pc:spChg>
        <pc:spChg chg="mod">
          <ac:chgData name="Lenoir, Marc" userId="fa9e80f1-309d-4401-b816-85836dfec125" providerId="ADAL" clId="{442F5FBA-54A3-4F6A-8EF1-2E05EADE12CB}" dt="2020-01-07T14:49:48.980" v="31" actId="1076"/>
          <ac:spMkLst>
            <pc:docMk/>
            <pc:sldMk cId="2923988817" sldId="570"/>
            <ac:spMk id="71" creationId="{9CE6DD61-1B56-4FED-BC6B-24E7F7953EEA}"/>
          </ac:spMkLst>
        </pc:spChg>
        <pc:spChg chg="mod">
          <ac:chgData name="Lenoir, Marc" userId="fa9e80f1-309d-4401-b816-85836dfec125" providerId="ADAL" clId="{442F5FBA-54A3-4F6A-8EF1-2E05EADE12CB}" dt="2020-01-07T14:49:48.980" v="31" actId="1076"/>
          <ac:spMkLst>
            <pc:docMk/>
            <pc:sldMk cId="2923988817" sldId="570"/>
            <ac:spMk id="74" creationId="{3B1BE15D-92ED-4891-A9D7-2256EC55BD7E}"/>
          </ac:spMkLst>
        </pc:spChg>
        <pc:spChg chg="mod">
          <ac:chgData name="Lenoir, Marc" userId="fa9e80f1-309d-4401-b816-85836dfec125" providerId="ADAL" clId="{442F5FBA-54A3-4F6A-8EF1-2E05EADE12CB}" dt="2020-01-07T14:51:29.508" v="68" actId="1076"/>
          <ac:spMkLst>
            <pc:docMk/>
            <pc:sldMk cId="2923988817" sldId="570"/>
            <ac:spMk id="106" creationId="{12FBF0CF-9598-4483-A130-E7ACE0CE0BCE}"/>
          </ac:spMkLst>
        </pc:spChg>
      </pc:sldChg>
      <pc:sldChg chg="addSp modSp">
        <pc:chgData name="Lenoir, Marc" userId="fa9e80f1-309d-4401-b816-85836dfec125" providerId="ADAL" clId="{442F5FBA-54A3-4F6A-8EF1-2E05EADE12CB}" dt="2020-01-07T14:52:01.254" v="74" actId="1076"/>
        <pc:sldMkLst>
          <pc:docMk/>
          <pc:sldMk cId="216923696" sldId="572"/>
        </pc:sldMkLst>
        <pc:spChg chg="add mod">
          <ac:chgData name="Lenoir, Marc" userId="fa9e80f1-309d-4401-b816-85836dfec125" providerId="ADAL" clId="{442F5FBA-54A3-4F6A-8EF1-2E05EADE12CB}" dt="2020-01-07T14:52:01.254" v="74" actId="1076"/>
          <ac:spMkLst>
            <pc:docMk/>
            <pc:sldMk cId="216923696" sldId="572"/>
            <ac:spMk id="37" creationId="{15BFFA4F-7093-4189-A3AA-2075A1033DA4}"/>
          </ac:spMkLst>
        </pc:spChg>
        <pc:spChg chg="mod">
          <ac:chgData name="Lenoir, Marc" userId="fa9e80f1-309d-4401-b816-85836dfec125" providerId="ADAL" clId="{442F5FBA-54A3-4F6A-8EF1-2E05EADE12CB}" dt="2020-01-07T14:51:55.654" v="72" actId="1076"/>
          <ac:spMkLst>
            <pc:docMk/>
            <pc:sldMk cId="216923696" sldId="572"/>
            <ac:spMk id="59" creationId="{C885F008-4800-4044-A601-42D911FBE549}"/>
          </ac:spMkLst>
        </pc:spChg>
        <pc:spChg chg="mod">
          <ac:chgData name="Lenoir, Marc" userId="fa9e80f1-309d-4401-b816-85836dfec125" providerId="ADAL" clId="{442F5FBA-54A3-4F6A-8EF1-2E05EADE12CB}" dt="2020-01-07T14:51:52.005" v="71" actId="1076"/>
          <ac:spMkLst>
            <pc:docMk/>
            <pc:sldMk cId="216923696" sldId="572"/>
            <ac:spMk id="69" creationId="{FD6B989A-08A0-4684-89A4-1FFA2B5B10F9}"/>
          </ac:spMkLst>
        </pc:spChg>
        <pc:spChg chg="mod">
          <ac:chgData name="Lenoir, Marc" userId="fa9e80f1-309d-4401-b816-85836dfec125" providerId="ADAL" clId="{442F5FBA-54A3-4F6A-8EF1-2E05EADE12CB}" dt="2020-01-07T14:51:46.780" v="70" actId="1076"/>
          <ac:spMkLst>
            <pc:docMk/>
            <pc:sldMk cId="216923696" sldId="572"/>
            <ac:spMk id="78" creationId="{52030450-2308-4126-A29F-3356083DD3E5}"/>
          </ac:spMkLst>
        </pc:spChg>
      </pc:sldChg>
      <pc:sldChg chg="addSp modSp">
        <pc:chgData name="Lenoir, Marc" userId="fa9e80f1-309d-4401-b816-85836dfec125" providerId="ADAL" clId="{442F5FBA-54A3-4F6A-8EF1-2E05EADE12CB}" dt="2020-01-07T14:53:44.394" v="90" actId="1076"/>
        <pc:sldMkLst>
          <pc:docMk/>
          <pc:sldMk cId="4125081957" sldId="573"/>
        </pc:sldMkLst>
        <pc:spChg chg="mod">
          <ac:chgData name="Lenoir, Marc" userId="fa9e80f1-309d-4401-b816-85836dfec125" providerId="ADAL" clId="{442F5FBA-54A3-4F6A-8EF1-2E05EADE12CB}" dt="2020-01-07T14:53:15.076" v="85" actId="1076"/>
          <ac:spMkLst>
            <pc:docMk/>
            <pc:sldMk cId="4125081957" sldId="573"/>
            <ac:spMk id="55" creationId="{84AB0B88-8FBE-4F73-9460-406699541EDC}"/>
          </ac:spMkLst>
        </pc:spChg>
        <pc:spChg chg="mod">
          <ac:chgData name="Lenoir, Marc" userId="fa9e80f1-309d-4401-b816-85836dfec125" providerId="ADAL" clId="{442F5FBA-54A3-4F6A-8EF1-2E05EADE12CB}" dt="2020-01-07T14:53:37.135" v="88" actId="1076"/>
          <ac:spMkLst>
            <pc:docMk/>
            <pc:sldMk cId="4125081957" sldId="573"/>
            <ac:spMk id="59" creationId="{C885F008-4800-4044-A601-42D911FBE549}"/>
          </ac:spMkLst>
        </pc:spChg>
        <pc:spChg chg="add mod">
          <ac:chgData name="Lenoir, Marc" userId="fa9e80f1-309d-4401-b816-85836dfec125" providerId="ADAL" clId="{442F5FBA-54A3-4F6A-8EF1-2E05EADE12CB}" dt="2020-01-07T14:53:44.394" v="90" actId="1076"/>
          <ac:spMkLst>
            <pc:docMk/>
            <pc:sldMk cId="4125081957" sldId="573"/>
            <ac:spMk id="61" creationId="{ACB86149-78C9-47EB-B270-463DF499F61B}"/>
          </ac:spMkLst>
        </pc:spChg>
        <pc:spChg chg="mod">
          <ac:chgData name="Lenoir, Marc" userId="fa9e80f1-309d-4401-b816-85836dfec125" providerId="ADAL" clId="{442F5FBA-54A3-4F6A-8EF1-2E05EADE12CB}" dt="2020-01-07T14:53:09.899" v="84" actId="20577"/>
          <ac:spMkLst>
            <pc:docMk/>
            <pc:sldMk cId="4125081957" sldId="573"/>
            <ac:spMk id="65" creationId="{0E0972D3-011C-4841-8CE3-ABBFC38D752D}"/>
          </ac:spMkLst>
        </pc:spChg>
        <pc:spChg chg="mod">
          <ac:chgData name="Lenoir, Marc" userId="fa9e80f1-309d-4401-b816-85836dfec125" providerId="ADAL" clId="{442F5FBA-54A3-4F6A-8EF1-2E05EADE12CB}" dt="2020-01-07T14:53:26.539" v="86" actId="1076"/>
          <ac:spMkLst>
            <pc:docMk/>
            <pc:sldMk cId="4125081957" sldId="573"/>
            <ac:spMk id="67" creationId="{55B9E03F-E29C-4818-BDBF-BD8FAE702C26}"/>
          </ac:spMkLst>
        </pc:spChg>
        <pc:spChg chg="mod">
          <ac:chgData name="Lenoir, Marc" userId="fa9e80f1-309d-4401-b816-85836dfec125" providerId="ADAL" clId="{442F5FBA-54A3-4F6A-8EF1-2E05EADE12CB}" dt="2020-01-07T14:53:33.581" v="87" actId="1076"/>
          <ac:spMkLst>
            <pc:docMk/>
            <pc:sldMk cId="4125081957" sldId="573"/>
            <ac:spMk id="69" creationId="{FD6B989A-08A0-4684-89A4-1FFA2B5B10F9}"/>
          </ac:spMkLst>
        </pc:spChg>
        <pc:spChg chg="mod">
          <ac:chgData name="Lenoir, Marc" userId="fa9e80f1-309d-4401-b816-85836dfec125" providerId="ADAL" clId="{442F5FBA-54A3-4F6A-8EF1-2E05EADE12CB}" dt="2020-01-07T14:53:26.539" v="86" actId="1076"/>
          <ac:spMkLst>
            <pc:docMk/>
            <pc:sldMk cId="4125081957" sldId="573"/>
            <ac:spMk id="74" creationId="{CEAC903A-359D-4722-9A2C-DAF6F58B30CF}"/>
          </ac:spMkLst>
        </pc:spChg>
        <pc:spChg chg="mod">
          <ac:chgData name="Lenoir, Marc" userId="fa9e80f1-309d-4401-b816-85836dfec125" providerId="ADAL" clId="{442F5FBA-54A3-4F6A-8EF1-2E05EADE12CB}" dt="2020-01-07T14:53:26.539" v="86" actId="1076"/>
          <ac:spMkLst>
            <pc:docMk/>
            <pc:sldMk cId="4125081957" sldId="573"/>
            <ac:spMk id="75" creationId="{075162A5-799F-41C2-95C0-C2B2B45C2BA8}"/>
          </ac:spMkLst>
        </pc:spChg>
        <pc:spChg chg="mod">
          <ac:chgData name="Lenoir, Marc" userId="fa9e80f1-309d-4401-b816-85836dfec125" providerId="ADAL" clId="{442F5FBA-54A3-4F6A-8EF1-2E05EADE12CB}" dt="2020-01-07T14:53:26.539" v="86" actId="1076"/>
          <ac:spMkLst>
            <pc:docMk/>
            <pc:sldMk cId="4125081957" sldId="573"/>
            <ac:spMk id="78" creationId="{52030450-2308-4126-A29F-3356083DD3E5}"/>
          </ac:spMkLst>
        </pc:spChg>
        <pc:spChg chg="mod">
          <ac:chgData name="Lenoir, Marc" userId="fa9e80f1-309d-4401-b816-85836dfec125" providerId="ADAL" clId="{442F5FBA-54A3-4F6A-8EF1-2E05EADE12CB}" dt="2020-01-07T14:53:41.461" v="89" actId="1076"/>
          <ac:spMkLst>
            <pc:docMk/>
            <pc:sldMk cId="4125081957" sldId="573"/>
            <ac:spMk id="106" creationId="{12FBF0CF-9598-4483-A130-E7ACE0CE0BCE}"/>
          </ac:spMkLst>
        </pc:spChg>
      </pc:sldChg>
    </pc:docChg>
  </pc:docChgLst>
  <pc:docChgLst>
    <pc:chgData name="Montigny, Laure" userId="5721f8b4-49d2-4481-baac-9422e70a7d32" providerId="ADAL" clId="{0F704054-2A6C-4602-A43D-A52C2ECDD218}"/>
    <pc:docChg chg="undo custSel addSld modSld modMainMaster">
      <pc:chgData name="Montigny, Laure" userId="5721f8b4-49d2-4481-baac-9422e70a7d32" providerId="ADAL" clId="{0F704054-2A6C-4602-A43D-A52C2ECDD218}" dt="2019-09-03T12:21:51.232" v="2720" actId="790"/>
      <pc:docMkLst>
        <pc:docMk/>
      </pc:docMkLst>
      <pc:sldMasterChg chg="addSp delSp modSp modSldLayout">
        <pc:chgData name="Montigny, Laure" userId="5721f8b4-49d2-4481-baac-9422e70a7d32" providerId="ADAL" clId="{0F704054-2A6C-4602-A43D-A52C2ECDD218}" dt="2019-08-22T07:04:36.214" v="357" actId="207"/>
        <pc:sldMasterMkLst>
          <pc:docMk/>
          <pc:sldMasterMk cId="1762778664" sldId="2147483671"/>
        </pc:sldMasterMkLst>
        <pc:spChg chg="add del">
          <ac:chgData name="Montigny, Laure" userId="5721f8b4-49d2-4481-baac-9422e70a7d32" providerId="ADAL" clId="{0F704054-2A6C-4602-A43D-A52C2ECDD218}" dt="2019-08-21T15:32:15.031" v="9" actId="478"/>
          <ac:spMkLst>
            <pc:docMk/>
            <pc:sldMasterMk cId="1762778664" sldId="2147483671"/>
            <ac:spMk id="2" creationId="{F2EB016D-CF9A-4584-982E-40465F70132F}"/>
          </ac:spMkLst>
        </pc:spChg>
        <pc:spChg chg="add del">
          <ac:chgData name="Montigny, Laure" userId="5721f8b4-49d2-4481-baac-9422e70a7d32" providerId="ADAL" clId="{0F704054-2A6C-4602-A43D-A52C2ECDD218}" dt="2019-08-21T15:32:22.307" v="13"/>
          <ac:spMkLst>
            <pc:docMk/>
            <pc:sldMasterMk cId="1762778664" sldId="2147483671"/>
            <ac:spMk id="5" creationId="{BA471D7B-3E32-4BA1-A2B1-94A88FD14AB8}"/>
          </ac:spMkLst>
        </pc:spChg>
        <pc:spChg chg="add mod">
          <ac:chgData name="Montigny, Laure" userId="5721f8b4-49d2-4481-baac-9422e70a7d32" providerId="ADAL" clId="{0F704054-2A6C-4602-A43D-A52C2ECDD218}" dt="2019-08-22T07:04:36.214" v="357" actId="207"/>
          <ac:spMkLst>
            <pc:docMk/>
            <pc:sldMasterMk cId="1762778664" sldId="2147483671"/>
            <ac:spMk id="6" creationId="{AEAC6FFC-697C-4DA0-B50A-9E922D8C3BE7}"/>
          </ac:spMkLst>
        </pc:spChg>
        <pc:spChg chg="add">
          <ac:chgData name="Montigny, Laure" userId="5721f8b4-49d2-4481-baac-9422e70a7d32" providerId="ADAL" clId="{0F704054-2A6C-4602-A43D-A52C2ECDD218}" dt="2019-08-21T15:34:43.081" v="45"/>
          <ac:spMkLst>
            <pc:docMk/>
            <pc:sldMasterMk cId="1762778664" sldId="2147483671"/>
            <ac:spMk id="7" creationId="{D7FFA983-8B9D-4789-A349-C069295FC92D}"/>
          </ac:spMkLst>
        </pc:spChg>
        <pc:spChg chg="add del mod">
          <ac:chgData name="Montigny, Laure" userId="5721f8b4-49d2-4481-baac-9422e70a7d32" providerId="ADAL" clId="{0F704054-2A6C-4602-A43D-A52C2ECDD218}" dt="2019-08-21T15:32:19.520" v="11" actId="478"/>
          <ac:spMkLst>
            <pc:docMk/>
            <pc:sldMasterMk cId="1762778664" sldId="2147483671"/>
            <ac:spMk id="13" creationId="{AF310831-D03E-404B-934F-73B268225B7E}"/>
          </ac:spMkLst>
        </pc:spChg>
        <pc:picChg chg="add del">
          <ac:chgData name="Montigny, Laure" userId="5721f8b4-49d2-4481-baac-9422e70a7d32" providerId="ADAL" clId="{0F704054-2A6C-4602-A43D-A52C2ECDD218}" dt="2019-08-21T15:32:08.361" v="8" actId="478"/>
          <ac:picMkLst>
            <pc:docMk/>
            <pc:sldMasterMk cId="1762778664" sldId="2147483671"/>
            <ac:picMk id="9" creationId="{25EEA1D4-3AF7-42D7-AE97-AE404AECFAEB}"/>
          </ac:picMkLst>
        </pc:picChg>
        <pc:sldLayoutChg chg="delSp">
          <pc:chgData name="Montigny, Laure" userId="5721f8b4-49d2-4481-baac-9422e70a7d32" providerId="ADAL" clId="{0F704054-2A6C-4602-A43D-A52C2ECDD218}" dt="2019-08-21T15:34:41.228" v="44" actId="478"/>
          <pc:sldLayoutMkLst>
            <pc:docMk/>
            <pc:sldMasterMk cId="1762778664" sldId="2147483671"/>
            <pc:sldLayoutMk cId="3756351309" sldId="2147483734"/>
          </pc:sldLayoutMkLst>
          <pc:spChg chg="del">
            <ac:chgData name="Montigny, Laure" userId="5721f8b4-49d2-4481-baac-9422e70a7d32" providerId="ADAL" clId="{0F704054-2A6C-4602-A43D-A52C2ECDD218}" dt="2019-08-21T15:34:41.228" v="44" actId="478"/>
            <ac:spMkLst>
              <pc:docMk/>
              <pc:sldMasterMk cId="1762778664" sldId="2147483671"/>
              <pc:sldLayoutMk cId="3756351309" sldId="2147483734"/>
              <ac:spMk id="8" creationId="{27CE2609-37DA-4C4C-BF45-E56CE85AA41D}"/>
            </ac:spMkLst>
          </pc:spChg>
          <pc:spChg chg="del">
            <ac:chgData name="Montigny, Laure" userId="5721f8b4-49d2-4481-baac-9422e70a7d32" providerId="ADAL" clId="{0F704054-2A6C-4602-A43D-A52C2ECDD218}" dt="2019-08-21T15:34:41.228" v="44" actId="478"/>
            <ac:spMkLst>
              <pc:docMk/>
              <pc:sldMasterMk cId="1762778664" sldId="2147483671"/>
              <pc:sldLayoutMk cId="3756351309" sldId="2147483734"/>
              <ac:spMk id="9" creationId="{6733E381-C11A-4F10-88ED-DDEA4B9167E2}"/>
            </ac:spMkLst>
          </pc:spChg>
          <pc:spChg chg="del">
            <ac:chgData name="Montigny, Laure" userId="5721f8b4-49d2-4481-baac-9422e70a7d32" providerId="ADAL" clId="{0F704054-2A6C-4602-A43D-A52C2ECDD218}" dt="2019-08-21T15:34:41.228" v="44" actId="478"/>
            <ac:spMkLst>
              <pc:docMk/>
              <pc:sldMasterMk cId="1762778664" sldId="2147483671"/>
              <pc:sldLayoutMk cId="3756351309" sldId="2147483734"/>
              <ac:spMk id="11" creationId="{4F279807-494A-45DD-A5C6-24F625316B92}"/>
            </ac:spMkLst>
          </pc:spChg>
          <pc:spChg chg="del">
            <ac:chgData name="Montigny, Laure" userId="5721f8b4-49d2-4481-baac-9422e70a7d32" providerId="ADAL" clId="{0F704054-2A6C-4602-A43D-A52C2ECDD218}" dt="2019-08-21T15:34:41.228" v="44" actId="478"/>
            <ac:spMkLst>
              <pc:docMk/>
              <pc:sldMasterMk cId="1762778664" sldId="2147483671"/>
              <pc:sldLayoutMk cId="3756351309" sldId="2147483734"/>
              <ac:spMk id="13" creationId="{D8D7F005-BA7C-423E-87B0-6782D88233F6}"/>
            </ac:spMkLst>
          </pc:spChg>
          <pc:spChg chg="del">
            <ac:chgData name="Montigny, Laure" userId="5721f8b4-49d2-4481-baac-9422e70a7d32" providerId="ADAL" clId="{0F704054-2A6C-4602-A43D-A52C2ECDD218}" dt="2019-08-21T15:34:41.228" v="44" actId="478"/>
            <ac:spMkLst>
              <pc:docMk/>
              <pc:sldMasterMk cId="1762778664" sldId="2147483671"/>
              <pc:sldLayoutMk cId="3756351309" sldId="2147483734"/>
              <ac:spMk id="14" creationId="{47BDC0DA-1585-454D-9E74-41D2AFC0FEE5}"/>
            </ac:spMkLst>
          </pc:spChg>
          <pc:spChg chg="del">
            <ac:chgData name="Montigny, Laure" userId="5721f8b4-49d2-4481-baac-9422e70a7d32" providerId="ADAL" clId="{0F704054-2A6C-4602-A43D-A52C2ECDD218}" dt="2019-08-21T15:34:41.228" v="44" actId="478"/>
            <ac:spMkLst>
              <pc:docMk/>
              <pc:sldMasterMk cId="1762778664" sldId="2147483671"/>
              <pc:sldLayoutMk cId="3756351309" sldId="2147483734"/>
              <ac:spMk id="22" creationId="{834ADCB4-BFB1-450D-8F6D-64217F4CD92C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mtClean="0"/>
              <a:pPr/>
              <a:t>02/05/2021</a:t>
            </a:fld>
            <a:endParaRPr lang="pt-P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mtClean="0"/>
              <a:pPr/>
              <a:t>‹N°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5B8F7-DAC4-4931-8AED-4356A8B2FD64}" type="datetimeFigureOut">
              <a:rPr lang="pt-BR" smtClean="0"/>
              <a:pPr/>
              <a:t>02/05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Editar os estilos de texto do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696B5C-12A0-4042-B4D0-BD3B9A4F58C6}" type="slidenum">
              <a:rPr lang="pt-BR" smtClean="0"/>
              <a:pPr/>
              <a:t>‹N°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968882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6214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445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53110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75158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DC669805-A0B0-450F-8856-8DF11C25D3E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3125122" cy="6858000"/>
          </a:xfrm>
          <a:prstGeom prst="rect">
            <a:avLst/>
          </a:prstGeom>
        </p:spPr>
      </p:pic>
      <p:pic>
        <p:nvPicPr>
          <p:cNvPr id="9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7" name="Retângulo 43">
            <a:extLst>
              <a:ext uri="{FF2B5EF4-FFF2-40B4-BE49-F238E27FC236}">
                <a16:creationId xmlns:a16="http://schemas.microsoft.com/office/drawing/2014/main" id="{D7FFA983-8B9D-4789-A349-C069295FC92D}"/>
              </a:ext>
            </a:extLst>
          </p:cNvPr>
          <p:cNvSpPr/>
          <p:nvPr userDrawn="1"/>
        </p:nvSpPr>
        <p:spPr>
          <a:xfrm>
            <a:off x="191344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>
                <a:solidFill>
                  <a:schemeClr val="bg1"/>
                </a:solidFill>
                <a:cs typeface="Arial" panose="020B0604020202020204" pitchFamily="34" charset="0"/>
              </a:rPr>
              <a:t>© 2019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pos="257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7" name="Retângulo 43">
            <a:extLst>
              <a:ext uri="{FF2B5EF4-FFF2-40B4-BE49-F238E27FC236}">
                <a16:creationId xmlns:a16="http://schemas.microsoft.com/office/drawing/2014/main" id="{D7FFA983-8B9D-4789-A349-C069295FC92D}"/>
              </a:ext>
            </a:extLst>
          </p:cNvPr>
          <p:cNvSpPr/>
          <p:nvPr userDrawn="1"/>
        </p:nvSpPr>
        <p:spPr>
          <a:xfrm>
            <a:off x="191344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>
                <a:solidFill>
                  <a:schemeClr val="bg1"/>
                </a:solidFill>
                <a:cs typeface="Arial" panose="020B0604020202020204" pitchFamily="34" charset="0"/>
              </a:rPr>
              <a:t>© 2019 Capgemini. All rights reserved.</a:t>
            </a:r>
          </a:p>
        </p:txBody>
      </p:sp>
      <p:sp>
        <p:nvSpPr>
          <p:cNvPr id="11" name="Retângulo 43">
            <a:extLst>
              <a:ext uri="{FF2B5EF4-FFF2-40B4-BE49-F238E27FC236}">
                <a16:creationId xmlns:a16="http://schemas.microsoft.com/office/drawing/2014/main" id="{0EFEF0A4-F89C-42EA-9381-C42F3D5F077F}"/>
              </a:ext>
            </a:extLst>
          </p:cNvPr>
          <p:cNvSpPr/>
          <p:nvPr userDrawn="1"/>
        </p:nvSpPr>
        <p:spPr>
          <a:xfrm>
            <a:off x="47328" y="6638544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9 Capgemini. All rights reserved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9292E39C-BCD3-4AC6-9AF7-C50BD136FE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353"/>
          <a:stretch/>
        </p:blipFill>
        <p:spPr>
          <a:xfrm rot="5400000" flipH="1">
            <a:off x="1246771" y="-1246775"/>
            <a:ext cx="1658239" cy="4151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858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86E713C-BD27-4F1F-A3BC-E074ECC2FC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387" t="1" b="48128"/>
          <a:stretch/>
        </p:blipFill>
        <p:spPr>
          <a:xfrm>
            <a:off x="0" y="0"/>
            <a:ext cx="6096000" cy="6316734"/>
          </a:xfrm>
          <a:prstGeom prst="rect">
            <a:avLst/>
          </a:prstGeom>
        </p:spPr>
      </p:pic>
      <p:pic>
        <p:nvPicPr>
          <p:cNvPr id="9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7" name="Retângulo 43">
            <a:extLst>
              <a:ext uri="{FF2B5EF4-FFF2-40B4-BE49-F238E27FC236}">
                <a16:creationId xmlns:a16="http://schemas.microsoft.com/office/drawing/2014/main" id="{D7FFA983-8B9D-4789-A349-C069295FC92D}"/>
              </a:ext>
            </a:extLst>
          </p:cNvPr>
          <p:cNvSpPr/>
          <p:nvPr userDrawn="1"/>
        </p:nvSpPr>
        <p:spPr>
          <a:xfrm>
            <a:off x="407368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9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84074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7" name="Retângulo 43">
            <a:extLst>
              <a:ext uri="{FF2B5EF4-FFF2-40B4-BE49-F238E27FC236}">
                <a16:creationId xmlns:a16="http://schemas.microsoft.com/office/drawing/2014/main" id="{D7FFA983-8B9D-4789-A349-C069295FC92D}"/>
              </a:ext>
            </a:extLst>
          </p:cNvPr>
          <p:cNvSpPr/>
          <p:nvPr userDrawn="1"/>
        </p:nvSpPr>
        <p:spPr>
          <a:xfrm>
            <a:off x="407368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9 Capgemini. All rights reserved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5F46A25-8568-4261-A470-F8EC33E9DC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687" b="48450"/>
          <a:stretch/>
        </p:blipFill>
        <p:spPr>
          <a:xfrm>
            <a:off x="0" y="0"/>
            <a:ext cx="6096000" cy="6316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876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4391B372-61EB-471E-8840-6CF7559D3B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33" b="47693"/>
          <a:stretch/>
        </p:blipFill>
        <p:spPr>
          <a:xfrm>
            <a:off x="0" y="0"/>
            <a:ext cx="6096000" cy="6389016"/>
          </a:xfrm>
          <a:prstGeom prst="rect">
            <a:avLst/>
          </a:prstGeom>
        </p:spPr>
      </p:pic>
      <p:pic>
        <p:nvPicPr>
          <p:cNvPr id="9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7" name="Retângulo 43">
            <a:extLst>
              <a:ext uri="{FF2B5EF4-FFF2-40B4-BE49-F238E27FC236}">
                <a16:creationId xmlns:a16="http://schemas.microsoft.com/office/drawing/2014/main" id="{D7FFA983-8B9D-4789-A349-C069295FC92D}"/>
              </a:ext>
            </a:extLst>
          </p:cNvPr>
          <p:cNvSpPr/>
          <p:nvPr userDrawn="1"/>
        </p:nvSpPr>
        <p:spPr>
          <a:xfrm>
            <a:off x="407368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9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1478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 : coins arrondis 56">
            <a:extLst>
              <a:ext uri="{FF2B5EF4-FFF2-40B4-BE49-F238E27FC236}">
                <a16:creationId xmlns:a16="http://schemas.microsoft.com/office/drawing/2014/main" id="{9D98E087-BAD9-445F-8CA1-D524C7F51083}"/>
              </a:ext>
            </a:extLst>
          </p:cNvPr>
          <p:cNvSpPr/>
          <p:nvPr/>
        </p:nvSpPr>
        <p:spPr>
          <a:xfrm>
            <a:off x="6090168" y="283120"/>
            <a:ext cx="2647323" cy="26214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Expériences professionnelles</a:t>
            </a:r>
          </a:p>
        </p:txBody>
      </p:sp>
      <p:sp>
        <p:nvSpPr>
          <p:cNvPr id="59" name="Rectangle : coins arrondis 58">
            <a:extLst>
              <a:ext uri="{FF2B5EF4-FFF2-40B4-BE49-F238E27FC236}">
                <a16:creationId xmlns:a16="http://schemas.microsoft.com/office/drawing/2014/main" id="{C885F008-4800-4044-A601-42D911FBE549}"/>
              </a:ext>
            </a:extLst>
          </p:cNvPr>
          <p:cNvSpPr/>
          <p:nvPr/>
        </p:nvSpPr>
        <p:spPr>
          <a:xfrm>
            <a:off x="272889" y="5099535"/>
            <a:ext cx="1116000" cy="256716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en-US" sz="1200" b="1" dirty="0">
                <a:solidFill>
                  <a:schemeClr val="bg1"/>
                </a:solidFill>
                <a:latin typeface="Ubuntu" panose="020B0804030602030204" pitchFamily="34" charset="0"/>
              </a:rPr>
              <a:t>Formations</a:t>
            </a:r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F3680749-C1D4-456F-90F4-05B22CF55F0A}"/>
              </a:ext>
            </a:extLst>
          </p:cNvPr>
          <p:cNvSpPr/>
          <p:nvPr/>
        </p:nvSpPr>
        <p:spPr>
          <a:xfrm>
            <a:off x="241127" y="1703954"/>
            <a:ext cx="1260000" cy="252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 dirty="0">
                <a:solidFill>
                  <a:schemeClr val="bg1"/>
                </a:solidFill>
                <a:latin typeface="Ubuntu" panose="020B0804030602030204" pitchFamily="34" charset="0"/>
              </a:rPr>
              <a:t>Compétences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E0972D3-011C-4841-8CE3-ABBFC38D752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72889" y="1922909"/>
            <a:ext cx="5778199" cy="19189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8000" tIns="36000" rIns="0" bIns="0" anchor="ctr">
            <a:spAutoFit/>
          </a:bodyPr>
          <a:lstStyle/>
          <a:p>
            <a:pPr algn="just">
              <a:spcBef>
                <a:spcPts val="200"/>
              </a:spcBef>
              <a:spcAft>
                <a:spcPts val="200"/>
              </a:spcAft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Savoir-faire : </a:t>
            </a: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endParaRPr lang="fr-FR" sz="1100" b="1" dirty="0">
              <a:solidFill>
                <a:srgbClr val="15596B"/>
              </a:solidFill>
              <a:latin typeface="Ubuntu" panose="020B0804030602030204" pitchFamily="34" charset="0"/>
            </a:endParaRP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endParaRPr lang="fr-FR" sz="1100" b="1" dirty="0">
              <a:solidFill>
                <a:srgbClr val="15596B"/>
              </a:solidFill>
              <a:latin typeface="Ubuntu" panose="020B0804030602030204" pitchFamily="34" charset="0"/>
            </a:endParaRP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endParaRPr lang="fr-FR" sz="1100" b="1" dirty="0">
              <a:solidFill>
                <a:srgbClr val="15596B"/>
              </a:solidFill>
              <a:latin typeface="Ubuntu" panose="020B0804030602030204" pitchFamily="34" charset="0"/>
            </a:endParaRP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endParaRPr lang="fr-FR" sz="1100" b="1" dirty="0">
              <a:solidFill>
                <a:srgbClr val="15596B"/>
              </a:solidFill>
              <a:latin typeface="Ubuntu" panose="020B0804030602030204" pitchFamily="34" charset="0"/>
            </a:endParaRP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endParaRPr lang="fr-FR" sz="1100" b="1" dirty="0">
              <a:solidFill>
                <a:srgbClr val="15596B"/>
              </a:solidFill>
              <a:latin typeface="Ubuntu" panose="020B0804030602030204" pitchFamily="34" charset="0"/>
            </a:endParaRP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endParaRPr lang="fr-FR" sz="1100" b="1" dirty="0">
              <a:solidFill>
                <a:srgbClr val="15596B"/>
              </a:solidFill>
              <a:latin typeface="Ubuntu" panose="020B0804030602030204" pitchFamily="34" charset="0"/>
            </a:endParaRPr>
          </a:p>
          <a:p>
            <a:pPr lvl="0" algn="just">
              <a:spcBef>
                <a:spcPts val="200"/>
              </a:spcBef>
              <a:spcAft>
                <a:spcPts val="200"/>
              </a:spcAft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Savoir-être :  </a:t>
            </a:r>
            <a:r>
              <a:rPr lang="fr-FR" sz="1100" dirty="0">
                <a:solidFill>
                  <a:srgbClr val="15596B"/>
                </a:solidFill>
                <a:latin typeface="Ubuntu" panose="020B0804030602030204" pitchFamily="34" charset="0"/>
              </a:rPr>
              <a:t>Autonomie, Ténacité, Rigueur ; Capacité relationnelle : travail d’équipe, y compris à distance, Ecoute ; Curiosité scientifique et technique, Adaptation à la nouveauté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D6B989A-08A0-4684-89A4-1FFA2B5B10F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36615" y="6183465"/>
            <a:ext cx="1918095" cy="5859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36000" rIns="90000" bIns="36000" anchor="ctr"/>
          <a:lstStyle/>
          <a:p>
            <a:pPr algn="just"/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Français - Maternelle</a:t>
            </a:r>
          </a:p>
          <a:p>
            <a:pPr algn="just"/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Anglais </a:t>
            </a:r>
            <a:r>
              <a:rPr lang="fr-FR" sz="1100" b="1">
                <a:solidFill>
                  <a:srgbClr val="15596B"/>
                </a:solidFill>
                <a:latin typeface="Ubuntu" panose="020B0804030602030204" pitchFamily="34" charset="0"/>
              </a:rPr>
              <a:t>- Professionnel</a:t>
            </a:r>
            <a:endParaRPr lang="fr-FR" sz="1100" b="1" dirty="0">
              <a:solidFill>
                <a:srgbClr val="15596B"/>
              </a:solidFill>
              <a:latin typeface="Ubuntu" panose="020B0804030602030204" pitchFamily="34" charset="0"/>
            </a:endParaRPr>
          </a:p>
        </p:txBody>
      </p:sp>
      <p:sp>
        <p:nvSpPr>
          <p:cNvPr id="78" name="Rectangle : coins arrondis 77">
            <a:extLst>
              <a:ext uri="{FF2B5EF4-FFF2-40B4-BE49-F238E27FC236}">
                <a16:creationId xmlns:a16="http://schemas.microsoft.com/office/drawing/2014/main" id="{52030450-2308-4126-A29F-3356083DD3E5}"/>
              </a:ext>
            </a:extLst>
          </p:cNvPr>
          <p:cNvSpPr/>
          <p:nvPr/>
        </p:nvSpPr>
        <p:spPr>
          <a:xfrm>
            <a:off x="236615" y="5988710"/>
            <a:ext cx="900000" cy="285066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Langues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12FBF0CF-9598-4483-A130-E7ACE0CE0BC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72889" y="5278457"/>
            <a:ext cx="5220617" cy="74119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" tIns="36000" rIns="90000" bIns="90000" anchor="ctr">
            <a:noAutofit/>
          </a:bodyPr>
          <a:lstStyle/>
          <a:p>
            <a:pPr algn="just"/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1996 –</a:t>
            </a:r>
            <a:r>
              <a:rPr lang="fr-FR" sz="1100" dirty="0">
                <a:solidFill>
                  <a:srgbClr val="15596B"/>
                </a:solidFill>
                <a:latin typeface="Ubuntu" panose="020B0804030602030204" pitchFamily="34" charset="0"/>
              </a:rPr>
              <a:t> D.E.S.S Ingénierie Mathématiques  Université Joseph Fourier Grenoble</a:t>
            </a:r>
          </a:p>
          <a:p>
            <a:pPr algn="just"/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1995 –</a:t>
            </a:r>
            <a:r>
              <a:rPr lang="fr-FR" sz="1100" dirty="0">
                <a:solidFill>
                  <a:srgbClr val="15596B"/>
                </a:solidFill>
                <a:latin typeface="Ubuntu" panose="020B0804030602030204" pitchFamily="34" charset="0"/>
              </a:rPr>
              <a:t> Maîtrise et titre d’Ingénieur-Maître en Génie Mathématique et Informatique   IUP Université Joseph Fourier Grenoble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5B1AE28A-F3CD-4CE8-8E77-134392A30F0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090168" y="1636070"/>
            <a:ext cx="5912886" cy="48254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216000" tIns="36000" rIns="0" bIns="90000" anchor="ctr">
            <a:noAutofit/>
          </a:bodyPr>
          <a:lstStyle/>
          <a:p>
            <a:pPr marL="171450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Conan </a:t>
            </a:r>
            <a:r>
              <a:rPr lang="fr-FR" sz="1200" b="1" dirty="0" err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Jeken</a:t>
            </a: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 Consulting – Consultant Architecte DevOps 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Pipeline de livraison des </a:t>
            </a:r>
            <a:r>
              <a:rPr lang="fr-FR" sz="1200" dirty="0" err="1">
                <a:solidFill>
                  <a:srgbClr val="15596B"/>
                </a:solidFill>
                <a:latin typeface="Ubuntu Light" panose="020B0304030602030204" pitchFamily="34" charset="0"/>
              </a:rPr>
              <a:t>features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 sous Azure </a:t>
            </a:r>
            <a:r>
              <a:rPr lang="fr-FR" sz="1200" dirty="0" err="1">
                <a:solidFill>
                  <a:srgbClr val="15596B"/>
                </a:solidFill>
                <a:latin typeface="Ubuntu Light" panose="020B0304030602030204" pitchFamily="34" charset="0"/>
              </a:rPr>
              <a:t>Devops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 pour la </a:t>
            </a:r>
            <a:r>
              <a:rPr lang="fr-FR" sz="1200" dirty="0" err="1">
                <a:solidFill>
                  <a:srgbClr val="15596B"/>
                </a:solidFill>
                <a:latin typeface="Ubuntu Light" panose="020B0304030602030204" pitchFamily="34" charset="0"/>
              </a:rPr>
              <a:t>plateform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 ETP Schneider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Conseil sur le suivi des best practices  DevOps dans l’équipe R&amp;D</a:t>
            </a:r>
          </a:p>
          <a:p>
            <a:pPr marL="171450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Hardis – Architecte DevOps/Docker</a:t>
            </a:r>
            <a:b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</a:b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Reflex/Adelia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 err="1">
                <a:solidFill>
                  <a:srgbClr val="15596B"/>
                </a:solidFill>
                <a:latin typeface="Ubuntu Light" panose="020B0304030602030204" pitchFamily="34" charset="0"/>
              </a:rPr>
              <a:t>Dockerisation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 ADELIA/REFLEX :  Participation à la transformation de l’application REFLEX sous forme de conteneurs Docker. Le but est d’utiliser l’application sur le Cloud Public et/ou privé.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Consultant Cloud Public pour plusieurs clients :  Participation à plusieurs projets clients autour du Cloud Public Azure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DEVELOPPEMENT SCRIPTS PYTHON Développement de scripts pour la supervision de serveurs et pour la gestion de tickets sous ITOP.</a:t>
            </a:r>
          </a:p>
          <a:p>
            <a:pPr marL="171450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DXC Financial Services – Architecte DevOps/Chef de projet Delivery Manager</a:t>
            </a:r>
            <a:b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</a:b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GRAPHTALK AIA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Définition/planning des développements pour le gestionnaire de livraison 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Architecture du cycle CI/CD sous Amazon AWS et Jenkins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Migration Docker : étude  Transformation de l’application GRAPHTALK et de son environnement en conteneurs Docker, Installation sous Amazon ECS de l’application GRAPHTALK AIA avec création de conteneurs pour les différents modules du logiciel.</a:t>
            </a:r>
            <a:endParaRPr lang="fr-FR" sz="1200" b="1" dirty="0">
              <a:solidFill>
                <a:srgbClr val="15596B"/>
              </a:solidFill>
              <a:latin typeface="Ubuntu Light" panose="020B0304030602030204" pitchFamily="34" charset="0"/>
              <a:cs typeface="Times New Roman" pitchFamily="18" charset="0"/>
            </a:endParaRPr>
          </a:p>
          <a:p>
            <a:pPr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CSC Financial Services Architecte/Chef de projet</a:t>
            </a:r>
            <a:b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</a:b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GRAPHTALK AIA</a:t>
            </a:r>
          </a:p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Delivery Manager : 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Industrialisation / Installation du logiciel Graphtalk AIA : Animation suivi équipe de 8 développeurs, outil de livraison sur site de production.</a:t>
            </a:r>
          </a:p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Graphtalk Supervision 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: module de Lancement et de gestion des processus asynchrones :  équipe de 8 personnes en France et Bulgarie</a:t>
            </a:r>
          </a:p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Projet GUI :  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Responsable du projet équipe de 5 personnes en France. Organisation et participation au développement de l’interface Graphique (Windows et Web) du logiciel GRAPHTALK AIA.</a:t>
            </a:r>
          </a:p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endParaRPr lang="fr-FR" sz="1200" b="1" dirty="0">
              <a:solidFill>
                <a:srgbClr val="15596B"/>
              </a:solidFill>
              <a:latin typeface="Ubuntu Light" panose="020B0304030602030204" pitchFamily="34" charset="0"/>
              <a:cs typeface="Times New Roman" pitchFamily="18" charset="0"/>
            </a:endParaRPr>
          </a:p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endParaRPr lang="fr-FR" sz="1200" dirty="0">
              <a:solidFill>
                <a:srgbClr val="15596B"/>
              </a:solidFill>
              <a:latin typeface="Ubuntu Light" panose="020B0304030602030204" pitchFamily="34" charset="0"/>
              <a:cs typeface="Times New Roman" pitchFamily="18" charset="0"/>
            </a:endParaRPr>
          </a:p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endParaRPr lang="fr-FR" sz="1200" dirty="0">
              <a:solidFill>
                <a:srgbClr val="15596B"/>
              </a:solidFill>
              <a:latin typeface="Ubuntu Light" panose="020B0304030602030204" pitchFamily="34" charset="0"/>
              <a:cs typeface="Times New Roman" pitchFamily="18" charset="0"/>
            </a:endParaRPr>
          </a:p>
          <a:p>
            <a:pPr marL="179387" lvl="1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tabLst>
                <a:tab pos="2098675" algn="l"/>
                <a:tab pos="3616325" algn="r"/>
              </a:tabLst>
            </a:pPr>
            <a:endParaRPr lang="fr-FR" sz="1200" dirty="0">
              <a:solidFill>
                <a:srgbClr val="15596B"/>
              </a:solidFill>
              <a:latin typeface="Ubuntu Light" panose="020B0304030602030204" pitchFamily="34" charset="0"/>
            </a:endParaRPr>
          </a:p>
        </p:txBody>
      </p:sp>
      <p:sp>
        <p:nvSpPr>
          <p:cNvPr id="99" name="Rectangle : coins arrondis 98">
            <a:extLst>
              <a:ext uri="{FF2B5EF4-FFF2-40B4-BE49-F238E27FC236}">
                <a16:creationId xmlns:a16="http://schemas.microsoft.com/office/drawing/2014/main" id="{09D2B2FE-6996-4714-9717-C29D3C7FB960}"/>
              </a:ext>
            </a:extLst>
          </p:cNvPr>
          <p:cNvSpPr/>
          <p:nvPr/>
        </p:nvSpPr>
        <p:spPr>
          <a:xfrm>
            <a:off x="241127" y="3921040"/>
            <a:ext cx="1260000" cy="252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 dirty="0">
                <a:solidFill>
                  <a:schemeClr val="bg1"/>
                </a:solidFill>
                <a:latin typeface="Ubuntu" panose="020B0804030602030204" pitchFamily="34" charset="0"/>
              </a:rPr>
              <a:t>Technologies</a:t>
            </a:r>
          </a:p>
        </p:txBody>
      </p:sp>
      <p:sp>
        <p:nvSpPr>
          <p:cNvPr id="61" name="Rectangle à coins arrondis 158">
            <a:extLst>
              <a:ext uri="{FF2B5EF4-FFF2-40B4-BE49-F238E27FC236}">
                <a16:creationId xmlns:a16="http://schemas.microsoft.com/office/drawing/2014/main" id="{02D10B8E-2EE2-425B-99E4-EAA2BD35FFA6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287688" y="857665"/>
            <a:ext cx="1728192" cy="408339"/>
          </a:xfrm>
          <a:prstGeom prst="roundRect">
            <a:avLst>
              <a:gd name="adj" fmla="val 28851"/>
            </a:avLst>
          </a:prstGeom>
          <a:solidFill>
            <a:schemeClr val="accent2"/>
          </a:solidFill>
          <a:ln w="381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139700" indent="-139700" algn="ctr">
              <a:lnSpc>
                <a:spcPct val="85000"/>
              </a:lnSpc>
              <a:buClr>
                <a:schemeClr val="accent3"/>
              </a:buClr>
              <a:defRPr/>
            </a:pPr>
            <a:r>
              <a:rPr lang="fr-FR" sz="1400" dirty="0">
                <a:solidFill>
                  <a:schemeClr val="bg1"/>
                </a:solidFill>
                <a:latin typeface="Ubuntu" panose="020B0804030602030204" pitchFamily="34" charset="0"/>
              </a:rPr>
              <a:t>25 années d’expérience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FCAC98F-DF4B-4059-AE57-F86D8C8E08D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94163" y="4199661"/>
            <a:ext cx="2947207" cy="94115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8000" tIns="36000" rIns="0" bIns="0" anchor="ctr">
            <a:spAutoFit/>
          </a:bodyPr>
          <a:lstStyle/>
          <a:p>
            <a:pPr marL="171450" indent="-79375" algn="just">
              <a:buClr>
                <a:schemeClr val="bg1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Graphtalk AIA</a:t>
            </a:r>
          </a:p>
          <a:p>
            <a:pPr marL="171450" indent="-79375" algn="just">
              <a:buClr>
                <a:schemeClr val="bg1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Visual Studio</a:t>
            </a:r>
          </a:p>
          <a:p>
            <a:pPr marL="171450" indent="-79375" algn="just">
              <a:buClr>
                <a:schemeClr val="bg1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Langages informatiques : Python, C/C++, C#,, Java, Javascript, GDL,  SQL, Groovy</a:t>
            </a:r>
          </a:p>
          <a:p>
            <a:pPr marL="171450" indent="-79375" algn="just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endParaRPr lang="fr-FR" sz="1100" b="1" dirty="0">
              <a:solidFill>
                <a:srgbClr val="15596B"/>
              </a:solidFill>
              <a:latin typeface="Ubuntu" panose="020B0804030602030204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C3C01DF-0B2F-44AF-95ED-B4AFFFB1723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124267" y="4068555"/>
            <a:ext cx="2947207" cy="105201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8000" tIns="36000" rIns="0" bIns="0" anchor="ctr">
            <a:spAutoFit/>
          </a:bodyPr>
          <a:lstStyle/>
          <a:p>
            <a:pPr marL="92075" algn="just"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Conteneurs Docker</a:t>
            </a:r>
          </a:p>
          <a:p>
            <a:pPr marL="92075" algn="just"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Jenkins, Azure DevOps, Terraform, ARM</a:t>
            </a:r>
          </a:p>
          <a:p>
            <a:pPr marL="92075" algn="just"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Cloud AWS, AZURE</a:t>
            </a:r>
          </a:p>
          <a:p>
            <a:pPr marL="92075" algn="just"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Systèmes d’exploitation Windows et Linux, Environnement Amazon AWS, Environnement Azure DevOps.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D9AD0067-9266-4BC9-B45E-F0E240891AE3}"/>
              </a:ext>
            </a:extLst>
          </p:cNvPr>
          <p:cNvSpPr txBox="1">
            <a:spLocks/>
          </p:cNvSpPr>
          <p:nvPr/>
        </p:nvSpPr>
        <p:spPr>
          <a:xfrm>
            <a:off x="343744" y="342225"/>
            <a:ext cx="3410787" cy="93491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lang="pt-PT" sz="26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just"/>
            <a:r>
              <a:rPr lang="en-US" dirty="0" err="1">
                <a:latin typeface="Ubuntu" panose="020B0804030602030204" pitchFamily="34" charset="0"/>
              </a:rPr>
              <a:t>Architecte</a:t>
            </a:r>
            <a:r>
              <a:rPr lang="en-US" dirty="0">
                <a:latin typeface="Ubuntu" panose="020B0804030602030204" pitchFamily="34" charset="0"/>
              </a:rPr>
              <a:t> Solution</a:t>
            </a:r>
          </a:p>
          <a:p>
            <a:pPr algn="just">
              <a:lnSpc>
                <a:spcPct val="100000"/>
              </a:lnSpc>
            </a:pPr>
            <a:endParaRPr lang="en-US" sz="1000" dirty="0">
              <a:latin typeface="Ubuntu" panose="020B0804030602030204" pitchFamily="34" charset="0"/>
            </a:endParaRPr>
          </a:p>
          <a:p>
            <a:pPr algn="just"/>
            <a:r>
              <a:rPr lang="en-US" sz="2400" b="1" i="1" dirty="0">
                <a:latin typeface="Ubuntu" panose="020B0804030602030204" pitchFamily="34" charset="0"/>
              </a:rPr>
              <a:t>FFR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85DA5339-BECE-424E-BF97-1D42E81589BF}"/>
              </a:ext>
            </a:extLst>
          </p:cNvPr>
          <p:cNvSpPr txBox="1"/>
          <p:nvPr/>
        </p:nvSpPr>
        <p:spPr>
          <a:xfrm>
            <a:off x="209838" y="2152391"/>
            <a:ext cx="5904299" cy="13029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Industrialisation de process : </a:t>
            </a:r>
            <a:r>
              <a:rPr lang="fr-FR" sz="1100" dirty="0">
                <a:solidFill>
                  <a:srgbClr val="15596B"/>
                </a:solidFill>
                <a:latin typeface="Ubuntu" panose="020B0804030602030204" pitchFamily="34" charset="0"/>
              </a:rPr>
              <a:t>automatisation du processus d’installation d’un logiciel ; intégration continue ; sécurisation des données à l’aide de Docker, Jenkins, Azure DevOps et des outils DEVOPS. </a:t>
            </a:r>
          </a:p>
          <a:p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Gestion de projet </a:t>
            </a:r>
            <a:r>
              <a:rPr lang="fr-FR" sz="1100" dirty="0">
                <a:solidFill>
                  <a:srgbClr val="15596B"/>
                </a:solidFill>
                <a:latin typeface="Ubuntu" panose="020B0804030602030204" pitchFamily="34" charset="0"/>
              </a:rPr>
              <a:t>: analyse des besoins, Organisation de développement R&amp;D, Conception de projets de développements, Suivi de développement et DevOps</a:t>
            </a:r>
          </a:p>
          <a:p>
            <a:pPr algn="just">
              <a:spcBef>
                <a:spcPts val="200"/>
              </a:spcBef>
              <a:spcAft>
                <a:spcPts val="800"/>
              </a:spcAft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Management Technique :  </a:t>
            </a:r>
            <a:r>
              <a:rPr lang="fr-FR" sz="1100" dirty="0">
                <a:solidFill>
                  <a:srgbClr val="15596B"/>
                </a:solidFill>
                <a:latin typeface="Ubuntu" panose="020B0804030602030204" pitchFamily="34" charset="0"/>
              </a:rPr>
              <a:t>Chef de projets R&amp;D / organisation, gestion des moyens et suivi des développements informatiques, optimisation du résultat ; Management Agile / utilisation du protocole Scrum</a:t>
            </a:r>
          </a:p>
        </p:txBody>
      </p:sp>
    </p:spTree>
    <p:extLst>
      <p:ext uri="{BB962C8B-B14F-4D97-AF65-F5344CB8AC3E}">
        <p14:creationId xmlns:p14="http://schemas.microsoft.com/office/powerpoint/2010/main" val="16510736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heme/theme1.xml><?xml version="1.0" encoding="utf-8"?>
<a:theme xmlns:a="http://schemas.openxmlformats.org/drawingml/2006/main" name="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2.xml><?xml version="1.0" encoding="utf-8"?>
<a:theme xmlns:a="http://schemas.openxmlformats.org/drawingml/2006/main" name="4_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3.xml><?xml version="1.0" encoding="utf-8"?>
<a:theme xmlns:a="http://schemas.openxmlformats.org/drawingml/2006/main" name="1_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4.xml><?xml version="1.0" encoding="utf-8"?>
<a:theme xmlns:a="http://schemas.openxmlformats.org/drawingml/2006/main" name="2_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5.xml><?xml version="1.0" encoding="utf-8"?>
<a:theme xmlns:a="http://schemas.openxmlformats.org/drawingml/2006/main" name="3_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6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77C7012D3141548AB740031175D0D08" ma:contentTypeVersion="4" ma:contentTypeDescription="Crée un document." ma:contentTypeScope="" ma:versionID="7ddd77b1b73b7ed7feca05c6f80d3262">
  <xsd:schema xmlns:xsd="http://www.w3.org/2001/XMLSchema" xmlns:xs="http://www.w3.org/2001/XMLSchema" xmlns:p="http://schemas.microsoft.com/office/2006/metadata/properties" xmlns:ns2="a7fee553-5b5e-4d4f-85e8-27a52b166282" xmlns:ns3="5e665403-6457-4f7f-ae16-6bd84b0cb826" targetNamespace="http://schemas.microsoft.com/office/2006/metadata/properties" ma:root="true" ma:fieldsID="415cb25f1fd5747381ee6f3339bcb6df" ns2:_="" ns3:_="">
    <xsd:import namespace="a7fee553-5b5e-4d4f-85e8-27a52b166282"/>
    <xsd:import namespace="5e665403-6457-4f7f-ae16-6bd84b0cb82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fee553-5b5e-4d4f-85e8-27a52b1662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665403-6457-4f7f-ae16-6bd84b0cb82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B9ECA75-A426-4AF1-8499-369CC8C4488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4862EE4-BC97-47BC-ACF5-AC2B4C8236D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fee553-5b5e-4d4f-85e8-27a52b166282"/>
    <ds:schemaRef ds:uri="5e665403-6457-4f7f-ae16-6bd84b0cb82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6807F67-3C8A-409D-8CB9-BF07F05B872A}">
  <ds:schemaRefs>
    <ds:schemaRef ds:uri="a7fee553-5b5e-4d4f-85e8-27a52b16628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pgemini_Template</Template>
  <TotalTime>281</TotalTime>
  <Words>495</Words>
  <Application>Microsoft Office PowerPoint</Application>
  <PresentationFormat>Grand écran</PresentationFormat>
  <Paragraphs>49</Paragraphs>
  <Slides>1</Slides>
  <Notes>1</Notes>
  <HiddenSlides>0</HiddenSlides>
  <MMClips>0</MMClips>
  <ScaleCrop>false</ScaleCrop>
  <HeadingPairs>
    <vt:vector size="6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5</vt:i4>
      </vt:variant>
      <vt:variant>
        <vt:lpstr>Titres des diapositives</vt:lpstr>
      </vt:variant>
      <vt:variant>
        <vt:i4>1</vt:i4>
      </vt:variant>
    </vt:vector>
  </HeadingPairs>
  <TitlesOfParts>
    <vt:vector size="12" baseType="lpstr">
      <vt:lpstr>Arial</vt:lpstr>
      <vt:lpstr>Calibri</vt:lpstr>
      <vt:lpstr>Ubuntu</vt:lpstr>
      <vt:lpstr>Ubuntu Light</vt:lpstr>
      <vt:lpstr>Verdana</vt:lpstr>
      <vt:lpstr>Wingdings</vt:lpstr>
      <vt:lpstr>Content Layouts</vt:lpstr>
      <vt:lpstr>4_Content Layouts</vt:lpstr>
      <vt:lpstr>1_Content Layouts</vt:lpstr>
      <vt:lpstr>2_Content Layouts</vt:lpstr>
      <vt:lpstr>3_Content Layouts</vt:lpstr>
      <vt:lpstr>Présentation PowerPoint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V</dc:title>
  <dc:creator>Matthieu Lieutaud</dc:creator>
  <cp:lastModifiedBy>SOPHIE FROMAGER</cp:lastModifiedBy>
  <cp:revision>39</cp:revision>
  <dcterms:created xsi:type="dcterms:W3CDTF">2017-10-31T10:10:17Z</dcterms:created>
  <dcterms:modified xsi:type="dcterms:W3CDTF">2021-05-02T07:47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77C7012D3141548AB740031175D0D08</vt:lpwstr>
  </property>
</Properties>
</file>